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</p:sldMasterIdLst>
  <p:notesMasterIdLst>
    <p:notesMasterId r:id="rId11"/>
  </p:notesMasterIdLst>
  <p:sldIdLst>
    <p:sldId id="259" r:id="rId6"/>
    <p:sldId id="2003" r:id="rId7"/>
    <p:sldId id="2006" r:id="rId8"/>
    <p:sldId id="2004" r:id="rId9"/>
    <p:sldId id="969" r:id="rId10"/>
  </p:sldIdLst>
  <p:sldSz cx="9144000" cy="5143500" type="screen16x9"/>
  <p:notesSz cx="7010400" cy="92964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8206"/>
    <a:srgbClr val="FD1010"/>
    <a:srgbClr val="FFDF7F"/>
    <a:srgbClr val="95D3CA"/>
    <a:srgbClr val="81A4B3"/>
    <a:srgbClr val="164772"/>
    <a:srgbClr val="CCE200"/>
    <a:srgbClr val="C4D600"/>
    <a:srgbClr val="E30000"/>
    <a:srgbClr val="B8D7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0EA053-2BE8-4297-9579-7C0F3D450B40}" v="46" dt="2024-08-01T15:17:21.8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2838BEF-8BB2-4498-84A7-C5851F593DF1}" styleName="Stile medio 4 - Color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DBED569-4797-4DF1-A0F4-6AAB3CD982D8}" styleName="Stile chiaro 3 - Color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28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581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fan Vlad Tudor" userId="a1add301-ea1b-4eef-b81e-d7bdb00d5699" providerId="ADAL" clId="{330EA053-2BE8-4297-9579-7C0F3D450B40}"/>
    <pc:docChg chg="undo redo custSel addSld delSld modSld sldOrd modMainMaster">
      <pc:chgData name="Stefan Vlad Tudor" userId="a1add301-ea1b-4eef-b81e-d7bdb00d5699" providerId="ADAL" clId="{330EA053-2BE8-4297-9579-7C0F3D450B40}" dt="2024-08-02T11:23:47.422" v="4033" actId="20577"/>
      <pc:docMkLst>
        <pc:docMk/>
      </pc:docMkLst>
      <pc:sldChg chg="modSp mod">
        <pc:chgData name="Stefan Vlad Tudor" userId="a1add301-ea1b-4eef-b81e-d7bdb00d5699" providerId="ADAL" clId="{330EA053-2BE8-4297-9579-7C0F3D450B40}" dt="2024-08-01T15:26:04.287" v="3988"/>
        <pc:sldMkLst>
          <pc:docMk/>
          <pc:sldMk cId="3508656095" sldId="259"/>
        </pc:sldMkLst>
        <pc:spChg chg="mod">
          <ac:chgData name="Stefan Vlad Tudor" userId="a1add301-ea1b-4eef-b81e-d7bdb00d5699" providerId="ADAL" clId="{330EA053-2BE8-4297-9579-7C0F3D450B40}" dt="2024-08-01T15:26:04.287" v="3988"/>
          <ac:spMkLst>
            <pc:docMk/>
            <pc:sldMk cId="3508656095" sldId="259"/>
            <ac:spMk id="2" creationId="{0E7A296F-1A85-442A-91D5-E61AE2F4E492}"/>
          </ac:spMkLst>
        </pc:spChg>
        <pc:spChg chg="mod">
          <ac:chgData name="Stefan Vlad Tudor" userId="a1add301-ea1b-4eef-b81e-d7bdb00d5699" providerId="ADAL" clId="{330EA053-2BE8-4297-9579-7C0F3D450B40}" dt="2024-08-01T15:15:43.324" v="3953" actId="2711"/>
          <ac:spMkLst>
            <pc:docMk/>
            <pc:sldMk cId="3508656095" sldId="259"/>
            <ac:spMk id="3" creationId="{3398F173-2DF8-4095-8CEC-595E030931AD}"/>
          </ac:spMkLst>
        </pc:spChg>
        <pc:spChg chg="mod">
          <ac:chgData name="Stefan Vlad Tudor" userId="a1add301-ea1b-4eef-b81e-d7bdb00d5699" providerId="ADAL" clId="{330EA053-2BE8-4297-9579-7C0F3D450B40}" dt="2024-08-01T13:04:20.437" v="1998" actId="2711"/>
          <ac:spMkLst>
            <pc:docMk/>
            <pc:sldMk cId="3508656095" sldId="259"/>
            <ac:spMk id="7" creationId="{53EDE778-8B9C-403E-9773-9E131817E97A}"/>
          </ac:spMkLst>
        </pc:spChg>
      </pc:sldChg>
      <pc:sldChg chg="addSp delSp modSp mod">
        <pc:chgData name="Stefan Vlad Tudor" userId="a1add301-ea1b-4eef-b81e-d7bdb00d5699" providerId="ADAL" clId="{330EA053-2BE8-4297-9579-7C0F3D450B40}" dt="2024-08-02T11:23:47.422" v="4033" actId="20577"/>
        <pc:sldMkLst>
          <pc:docMk/>
          <pc:sldMk cId="1116850265" sldId="969"/>
        </pc:sldMkLst>
        <pc:spChg chg="mod">
          <ac:chgData name="Stefan Vlad Tudor" userId="a1add301-ea1b-4eef-b81e-d7bdb00d5699" providerId="ADAL" clId="{330EA053-2BE8-4297-9579-7C0F3D450B40}" dt="2024-08-01T13:01:51.838" v="1977" actId="20577"/>
          <ac:spMkLst>
            <pc:docMk/>
            <pc:sldMk cId="1116850265" sldId="969"/>
            <ac:spMk id="2" creationId="{77EBA12A-5470-BD5F-8B10-5B286536D0EB}"/>
          </ac:spMkLst>
        </pc:spChg>
        <pc:spChg chg="add mod">
          <ac:chgData name="Stefan Vlad Tudor" userId="a1add301-ea1b-4eef-b81e-d7bdb00d5699" providerId="ADAL" clId="{330EA053-2BE8-4297-9579-7C0F3D450B40}" dt="2024-08-01T12:59:05.399" v="1955"/>
          <ac:spMkLst>
            <pc:docMk/>
            <pc:sldMk cId="1116850265" sldId="969"/>
            <ac:spMk id="3" creationId="{5971CE96-5419-A2F2-957F-2BFD2FF03595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6" creationId="{CE6FB60A-EA4C-7B45-53EE-C4AB549A9745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7" creationId="{4F93DF9C-C314-2986-E909-6AD2E2E34BF9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10" creationId="{6BCBD76C-52AE-E624-0125-5D01ECC5B2D3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11" creationId="{9E9DEEDF-F346-2102-3CDE-6F08599BAD26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14" creationId="{CCEBB3E4-D370-5D80-26B5-D2D15A242499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15" creationId="{86727BCB-711A-A082-FBB3-B3F44C64EE60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18" creationId="{B8589C50-43E2-CD83-02C0-B1F5EBA02BF6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19" creationId="{C90CCADD-95E8-BA4D-6168-1C7F5D7AD474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22" creationId="{1E1721BC-3896-E3DC-FEB9-E69CC9D0AEC6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23" creationId="{49F60F70-8968-893C-5C69-55670698D78C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25" creationId="{0A0DAC1E-7051-D349-7ADA-AF326DA7EAE3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26" creationId="{CD2D6D7A-810A-62F4-BA0C-EC469E3D985C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29" creationId="{1C77DD66-022C-1414-2217-67DF7E3ECE50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30" creationId="{7215D401-3FB0-CC40-D377-01E05D25BDDF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33" creationId="{8C158456-1D10-980F-6004-A133F3194F45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34" creationId="{3B4ED581-F548-477B-952A-41769418D0B3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39" creationId="{070717EC-359F-D1DB-08DB-EFCB3753EBD8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42" creationId="{9CF195D3-27C4-A8F7-2EA4-0F76190D8D61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48" creationId="{079A3000-C8DB-B610-9C16-3CB6EB816193}"/>
          </ac:spMkLst>
        </pc:spChg>
        <pc:spChg chg="mod">
          <ac:chgData name="Stefan Vlad Tudor" userId="a1add301-ea1b-4eef-b81e-d7bdb00d5699" providerId="ADAL" clId="{330EA053-2BE8-4297-9579-7C0F3D450B40}" dt="2024-08-01T12:59:45.061" v="1960" actId="207"/>
          <ac:spMkLst>
            <pc:docMk/>
            <pc:sldMk cId="1116850265" sldId="969"/>
            <ac:spMk id="49" creationId="{A4D3265A-2AF4-4E3F-D04D-8D2E57D9B27E}"/>
          </ac:spMkLst>
        </pc:spChg>
        <pc:spChg chg="add mod">
          <ac:chgData name="Stefan Vlad Tudor" userId="a1add301-ea1b-4eef-b81e-d7bdb00d5699" providerId="ADAL" clId="{330EA053-2BE8-4297-9579-7C0F3D450B40}" dt="2024-08-02T11:23:47.422" v="4033" actId="20577"/>
          <ac:spMkLst>
            <pc:docMk/>
            <pc:sldMk cId="1116850265" sldId="969"/>
            <ac:spMk id="51" creationId="{A1DB5115-4CEE-781B-B1EC-4E3473141FE0}"/>
          </ac:spMkLst>
        </pc:spChg>
        <pc:grpChg chg="add del mod">
          <ac:chgData name="Stefan Vlad Tudor" userId="a1add301-ea1b-4eef-b81e-d7bdb00d5699" providerId="ADAL" clId="{330EA053-2BE8-4297-9579-7C0F3D450B40}" dt="2024-08-01T12:59:56.470" v="1961" actId="478"/>
          <ac:grpSpMkLst>
            <pc:docMk/>
            <pc:sldMk cId="1116850265" sldId="969"/>
            <ac:grpSpMk id="4" creationId="{97822BBB-176A-C814-F74E-8DA77BC4F56D}"/>
          </ac:grpSpMkLst>
        </pc:grpChg>
        <pc:grpChg chg="add del mod">
          <ac:chgData name="Stefan Vlad Tudor" userId="a1add301-ea1b-4eef-b81e-d7bdb00d5699" providerId="ADAL" clId="{330EA053-2BE8-4297-9579-7C0F3D450B40}" dt="2024-08-01T12:59:56.470" v="1961" actId="478"/>
          <ac:grpSpMkLst>
            <pc:docMk/>
            <pc:sldMk cId="1116850265" sldId="969"/>
            <ac:grpSpMk id="8" creationId="{466ED842-F537-6E10-7F6B-B59FE52D169F}"/>
          </ac:grpSpMkLst>
        </pc:grpChg>
        <pc:grpChg chg="add del mod">
          <ac:chgData name="Stefan Vlad Tudor" userId="a1add301-ea1b-4eef-b81e-d7bdb00d5699" providerId="ADAL" clId="{330EA053-2BE8-4297-9579-7C0F3D450B40}" dt="2024-08-01T12:59:56.470" v="1961" actId="478"/>
          <ac:grpSpMkLst>
            <pc:docMk/>
            <pc:sldMk cId="1116850265" sldId="969"/>
            <ac:grpSpMk id="12" creationId="{932BF8B1-834C-5864-25E5-94B6D799A739}"/>
          </ac:grpSpMkLst>
        </pc:grpChg>
        <pc:grpChg chg="add del mod">
          <ac:chgData name="Stefan Vlad Tudor" userId="a1add301-ea1b-4eef-b81e-d7bdb00d5699" providerId="ADAL" clId="{330EA053-2BE8-4297-9579-7C0F3D450B40}" dt="2024-08-01T12:59:56.470" v="1961" actId="478"/>
          <ac:grpSpMkLst>
            <pc:docMk/>
            <pc:sldMk cId="1116850265" sldId="969"/>
            <ac:grpSpMk id="16" creationId="{3D459A45-D5DF-623E-2C52-C2E6F0591BAC}"/>
          </ac:grpSpMkLst>
        </pc:grpChg>
        <pc:grpChg chg="add del mod">
          <ac:chgData name="Stefan Vlad Tudor" userId="a1add301-ea1b-4eef-b81e-d7bdb00d5699" providerId="ADAL" clId="{330EA053-2BE8-4297-9579-7C0F3D450B40}" dt="2024-08-01T12:59:56.470" v="1961" actId="478"/>
          <ac:grpSpMkLst>
            <pc:docMk/>
            <pc:sldMk cId="1116850265" sldId="969"/>
            <ac:grpSpMk id="20" creationId="{1A0A7F01-07FE-35B4-6575-FB2075EB4E29}"/>
          </ac:grpSpMkLst>
        </pc:grpChg>
        <pc:grpChg chg="add del mod">
          <ac:chgData name="Stefan Vlad Tudor" userId="a1add301-ea1b-4eef-b81e-d7bdb00d5699" providerId="ADAL" clId="{330EA053-2BE8-4297-9579-7C0F3D450B40}" dt="2024-08-01T12:59:56.470" v="1961" actId="478"/>
          <ac:grpSpMkLst>
            <pc:docMk/>
            <pc:sldMk cId="1116850265" sldId="969"/>
            <ac:grpSpMk id="24" creationId="{6ACD5208-0C5E-3043-9F8D-FB0211DB3307}"/>
          </ac:grpSpMkLst>
        </pc:grpChg>
        <pc:grpChg chg="add del mod">
          <ac:chgData name="Stefan Vlad Tudor" userId="a1add301-ea1b-4eef-b81e-d7bdb00d5699" providerId="ADAL" clId="{330EA053-2BE8-4297-9579-7C0F3D450B40}" dt="2024-08-01T12:59:56.470" v="1961" actId="478"/>
          <ac:grpSpMkLst>
            <pc:docMk/>
            <pc:sldMk cId="1116850265" sldId="969"/>
            <ac:grpSpMk id="28" creationId="{C4A232B4-FF8B-237A-4F82-3A841BF50F22}"/>
          </ac:grpSpMkLst>
        </pc:grpChg>
        <pc:grpChg chg="add del mod">
          <ac:chgData name="Stefan Vlad Tudor" userId="a1add301-ea1b-4eef-b81e-d7bdb00d5699" providerId="ADAL" clId="{330EA053-2BE8-4297-9579-7C0F3D450B40}" dt="2024-08-01T12:59:56.470" v="1961" actId="478"/>
          <ac:grpSpMkLst>
            <pc:docMk/>
            <pc:sldMk cId="1116850265" sldId="969"/>
            <ac:grpSpMk id="32" creationId="{2668E13E-10A6-4F98-6F1D-6CC06C319CB6}"/>
          </ac:grpSpMkLst>
        </pc:grpChg>
        <pc:grpChg chg="mod">
          <ac:chgData name="Stefan Vlad Tudor" userId="a1add301-ea1b-4eef-b81e-d7bdb00d5699" providerId="ADAL" clId="{330EA053-2BE8-4297-9579-7C0F3D450B40}" dt="2024-08-01T12:59:19.485" v="1956"/>
          <ac:grpSpMkLst>
            <pc:docMk/>
            <pc:sldMk cId="1116850265" sldId="969"/>
            <ac:grpSpMk id="35" creationId="{7FC665E7-BB4A-5882-AB67-C03596146F59}"/>
          </ac:grpSpMkLst>
        </pc:grpChg>
        <pc:grpChg chg="add del mod">
          <ac:chgData name="Stefan Vlad Tudor" userId="a1add301-ea1b-4eef-b81e-d7bdb00d5699" providerId="ADAL" clId="{330EA053-2BE8-4297-9579-7C0F3D450B40}" dt="2024-08-01T12:59:56.470" v="1961" actId="478"/>
          <ac:grpSpMkLst>
            <pc:docMk/>
            <pc:sldMk cId="1116850265" sldId="969"/>
            <ac:grpSpMk id="38" creationId="{993B6470-0D7C-5AAB-9083-AB9BBBE3DE52}"/>
          </ac:grpSpMkLst>
        </pc:grpChg>
        <pc:grpChg chg="mod">
          <ac:chgData name="Stefan Vlad Tudor" userId="a1add301-ea1b-4eef-b81e-d7bdb00d5699" providerId="ADAL" clId="{330EA053-2BE8-4297-9579-7C0F3D450B40}" dt="2024-08-01T12:59:19.485" v="1956"/>
          <ac:grpSpMkLst>
            <pc:docMk/>
            <pc:sldMk cId="1116850265" sldId="969"/>
            <ac:grpSpMk id="40" creationId="{7BE1958D-40E0-B89A-C461-9D671BD54DE7}"/>
          </ac:grpSpMkLst>
        </pc:grpChg>
        <pc:grpChg chg="mod">
          <ac:chgData name="Stefan Vlad Tudor" userId="a1add301-ea1b-4eef-b81e-d7bdb00d5699" providerId="ADAL" clId="{330EA053-2BE8-4297-9579-7C0F3D450B40}" dt="2024-08-01T12:59:19.485" v="1956"/>
          <ac:grpSpMkLst>
            <pc:docMk/>
            <pc:sldMk cId="1116850265" sldId="969"/>
            <ac:grpSpMk id="41" creationId="{EC8DA7FA-7E33-49B9-9B17-EB72EDED8DA4}"/>
          </ac:grpSpMkLst>
        </pc:grpChg>
        <pc:grpChg chg="add del mod">
          <ac:chgData name="Stefan Vlad Tudor" userId="a1add301-ea1b-4eef-b81e-d7bdb00d5699" providerId="ADAL" clId="{330EA053-2BE8-4297-9579-7C0F3D450B40}" dt="2024-08-01T12:59:56.470" v="1961" actId="478"/>
          <ac:grpSpMkLst>
            <pc:docMk/>
            <pc:sldMk cId="1116850265" sldId="969"/>
            <ac:grpSpMk id="47" creationId="{843988C1-1744-1E3B-2440-C91375ED90AD}"/>
          </ac:grpSpMkLst>
        </pc:grp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5" creationId="{58DC02C9-55E1-74BA-E882-BAD5AC1B01E2}"/>
          </ac:picMkLst>
        </pc:pic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9" creationId="{D9157C92-5104-DBE0-C7C3-72461AAF4B42}"/>
          </ac:picMkLst>
        </pc:pic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13" creationId="{2E5FDBA3-B321-414F-3AF7-BAD112038A02}"/>
          </ac:picMkLst>
        </pc:pic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17" creationId="{68B54D57-CA74-E030-8DAF-5F42D0331D7C}"/>
          </ac:picMkLst>
        </pc:pic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21" creationId="{2B8BAE3B-1195-1049-9F02-D84BF4875954}"/>
          </ac:picMkLst>
        </pc:pic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27" creationId="{4C73717D-4583-F2D5-566F-62EACE54ADA8}"/>
          </ac:picMkLst>
        </pc:pic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31" creationId="{2C44DF64-8020-3612-AD89-4C03DB2C8B63}"/>
          </ac:picMkLst>
        </pc:pic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36" creationId="{34C68D94-7C9D-1BDA-34DB-AC25A8042E8A}"/>
          </ac:picMkLst>
        </pc:pic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37" creationId="{3B7A4709-8084-BD68-33BA-636F9796F0AE}"/>
          </ac:picMkLst>
        </pc:pic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43" creationId="{350797EA-243A-7AAF-DE51-22F2724F6610}"/>
          </ac:picMkLst>
        </pc:pic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44" creationId="{8F16B09A-0730-0871-D0E0-934C96A1833A}"/>
          </ac:picMkLst>
        </pc:pic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45" creationId="{F42FD405-5ACC-E030-D2BB-A0DB5E8F95A1}"/>
          </ac:picMkLst>
        </pc:pic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46" creationId="{C3AA5CAA-A0C5-F59A-B63C-3213827F1517}"/>
          </ac:picMkLst>
        </pc:picChg>
        <pc:picChg chg="mod">
          <ac:chgData name="Stefan Vlad Tudor" userId="a1add301-ea1b-4eef-b81e-d7bdb00d5699" providerId="ADAL" clId="{330EA053-2BE8-4297-9579-7C0F3D450B40}" dt="2024-08-01T12:59:19.485" v="1956"/>
          <ac:picMkLst>
            <pc:docMk/>
            <pc:sldMk cId="1116850265" sldId="969"/>
            <ac:picMk id="50" creationId="{F811A174-2A5E-9E0E-D414-008B0B295366}"/>
          </ac:picMkLst>
        </pc:picChg>
      </pc:sldChg>
      <pc:sldChg chg="del">
        <pc:chgData name="Stefan Vlad Tudor" userId="a1add301-ea1b-4eef-b81e-d7bdb00d5699" providerId="ADAL" clId="{330EA053-2BE8-4297-9579-7C0F3D450B40}" dt="2024-07-29T15:58:03.096" v="71" actId="47"/>
        <pc:sldMkLst>
          <pc:docMk/>
          <pc:sldMk cId="4227417414" sldId="1174"/>
        </pc:sldMkLst>
      </pc:sldChg>
      <pc:sldChg chg="del">
        <pc:chgData name="Stefan Vlad Tudor" userId="a1add301-ea1b-4eef-b81e-d7bdb00d5699" providerId="ADAL" clId="{330EA053-2BE8-4297-9579-7C0F3D450B40}" dt="2024-07-29T15:59:47.393" v="79" actId="47"/>
        <pc:sldMkLst>
          <pc:docMk/>
          <pc:sldMk cId="488251475" sldId="1182"/>
        </pc:sldMkLst>
      </pc:sldChg>
      <pc:sldChg chg="del">
        <pc:chgData name="Stefan Vlad Tudor" userId="a1add301-ea1b-4eef-b81e-d7bdb00d5699" providerId="ADAL" clId="{330EA053-2BE8-4297-9579-7C0F3D450B40}" dt="2024-07-29T15:58:03.096" v="71" actId="47"/>
        <pc:sldMkLst>
          <pc:docMk/>
          <pc:sldMk cId="3034296293" sldId="1229"/>
        </pc:sldMkLst>
      </pc:sldChg>
      <pc:sldChg chg="del">
        <pc:chgData name="Stefan Vlad Tudor" userId="a1add301-ea1b-4eef-b81e-d7bdb00d5699" providerId="ADAL" clId="{330EA053-2BE8-4297-9579-7C0F3D450B40}" dt="2024-07-29T15:58:03.096" v="71" actId="47"/>
        <pc:sldMkLst>
          <pc:docMk/>
          <pc:sldMk cId="3512016469" sldId="1230"/>
        </pc:sldMkLst>
      </pc:sldChg>
      <pc:sldChg chg="del">
        <pc:chgData name="Stefan Vlad Tudor" userId="a1add301-ea1b-4eef-b81e-d7bdb00d5699" providerId="ADAL" clId="{330EA053-2BE8-4297-9579-7C0F3D450B40}" dt="2024-07-29T15:58:03.096" v="71" actId="47"/>
        <pc:sldMkLst>
          <pc:docMk/>
          <pc:sldMk cId="3875013542" sldId="1231"/>
        </pc:sldMkLst>
      </pc:sldChg>
      <pc:sldChg chg="del">
        <pc:chgData name="Stefan Vlad Tudor" userId="a1add301-ea1b-4eef-b81e-d7bdb00d5699" providerId="ADAL" clId="{330EA053-2BE8-4297-9579-7C0F3D450B40}" dt="2024-07-29T15:58:03.096" v="71" actId="47"/>
        <pc:sldMkLst>
          <pc:docMk/>
          <pc:sldMk cId="2366695077" sldId="1232"/>
        </pc:sldMkLst>
      </pc:sldChg>
      <pc:sldChg chg="del">
        <pc:chgData name="Stefan Vlad Tudor" userId="a1add301-ea1b-4eef-b81e-d7bdb00d5699" providerId="ADAL" clId="{330EA053-2BE8-4297-9579-7C0F3D450B40}" dt="2024-07-29T15:58:03.096" v="71" actId="47"/>
        <pc:sldMkLst>
          <pc:docMk/>
          <pc:sldMk cId="3711095322" sldId="1234"/>
        </pc:sldMkLst>
      </pc:sldChg>
      <pc:sldChg chg="del">
        <pc:chgData name="Stefan Vlad Tudor" userId="a1add301-ea1b-4eef-b81e-d7bdb00d5699" providerId="ADAL" clId="{330EA053-2BE8-4297-9579-7C0F3D450B40}" dt="2024-07-29T15:58:03.096" v="71" actId="47"/>
        <pc:sldMkLst>
          <pc:docMk/>
          <pc:sldMk cId="2590855902" sldId="1235"/>
        </pc:sldMkLst>
      </pc:sldChg>
      <pc:sldChg chg="del">
        <pc:chgData name="Stefan Vlad Tudor" userId="a1add301-ea1b-4eef-b81e-d7bdb00d5699" providerId="ADAL" clId="{330EA053-2BE8-4297-9579-7C0F3D450B40}" dt="2024-07-29T15:58:03.096" v="71" actId="47"/>
        <pc:sldMkLst>
          <pc:docMk/>
          <pc:sldMk cId="2898672328" sldId="1236"/>
        </pc:sldMkLst>
      </pc:sldChg>
      <pc:sldChg chg="del">
        <pc:chgData name="Stefan Vlad Tudor" userId="a1add301-ea1b-4eef-b81e-d7bdb00d5699" providerId="ADAL" clId="{330EA053-2BE8-4297-9579-7C0F3D450B40}" dt="2024-07-29T15:58:03.096" v="71" actId="47"/>
        <pc:sldMkLst>
          <pc:docMk/>
          <pc:sldMk cId="2800441330" sldId="1237"/>
        </pc:sldMkLst>
      </pc:sldChg>
      <pc:sldChg chg="del">
        <pc:chgData name="Stefan Vlad Tudor" userId="a1add301-ea1b-4eef-b81e-d7bdb00d5699" providerId="ADAL" clId="{330EA053-2BE8-4297-9579-7C0F3D450B40}" dt="2024-07-29T15:58:03.096" v="71" actId="47"/>
        <pc:sldMkLst>
          <pc:docMk/>
          <pc:sldMk cId="311151039" sldId="1238"/>
        </pc:sldMkLst>
      </pc:sldChg>
      <pc:sldChg chg="addSp delSp modSp add del mod ord">
        <pc:chgData name="Stefan Vlad Tudor" userId="a1add301-ea1b-4eef-b81e-d7bdb00d5699" providerId="ADAL" clId="{330EA053-2BE8-4297-9579-7C0F3D450B40}" dt="2024-08-01T14:44:28.134" v="3346" actId="47"/>
        <pc:sldMkLst>
          <pc:docMk/>
          <pc:sldMk cId="554908520" sldId="2002"/>
        </pc:sldMkLst>
        <pc:spChg chg="mod">
          <ac:chgData name="Stefan Vlad Tudor" userId="a1add301-ea1b-4eef-b81e-d7bdb00d5699" providerId="ADAL" clId="{330EA053-2BE8-4297-9579-7C0F3D450B40}" dt="2024-07-29T16:01:21.576" v="104" actId="20577"/>
          <ac:spMkLst>
            <pc:docMk/>
            <pc:sldMk cId="554908520" sldId="2002"/>
            <ac:spMk id="2" creationId="{151BED59-5C11-44C8-83AE-800254DD3337}"/>
          </ac:spMkLst>
        </pc:spChg>
        <pc:spChg chg="del">
          <ac:chgData name="Stefan Vlad Tudor" userId="a1add301-ea1b-4eef-b81e-d7bdb00d5699" providerId="ADAL" clId="{330EA053-2BE8-4297-9579-7C0F3D450B40}" dt="2024-07-29T16:00:43.194" v="82" actId="478"/>
          <ac:spMkLst>
            <pc:docMk/>
            <pc:sldMk cId="554908520" sldId="2002"/>
            <ac:spMk id="20" creationId="{008A63AB-8327-C06C-9049-E69DD7CC1F29}"/>
          </ac:spMkLst>
        </pc:spChg>
        <pc:spChg chg="add mod">
          <ac:chgData name="Stefan Vlad Tudor" userId="a1add301-ea1b-4eef-b81e-d7bdb00d5699" providerId="ADAL" clId="{330EA053-2BE8-4297-9579-7C0F3D450B40}" dt="2024-07-31T10:04:43.287" v="842" actId="20577"/>
          <ac:spMkLst>
            <pc:docMk/>
            <pc:sldMk cId="554908520" sldId="2002"/>
            <ac:spMk id="20" creationId="{A05E955B-DAE8-082D-DC46-913B5EC82E53}"/>
          </ac:spMkLst>
        </pc:spChg>
        <pc:spChg chg="mod">
          <ac:chgData name="Stefan Vlad Tudor" userId="a1add301-ea1b-4eef-b81e-d7bdb00d5699" providerId="ADAL" clId="{330EA053-2BE8-4297-9579-7C0F3D450B40}" dt="2024-07-29T16:00:06.272" v="81" actId="20577"/>
          <ac:spMkLst>
            <pc:docMk/>
            <pc:sldMk cId="554908520" sldId="2002"/>
            <ac:spMk id="71" creationId="{C6C2F0C8-CFDA-4763-A5F0-841A2469ECD3}"/>
          </ac:spMkLst>
        </pc:spChg>
        <pc:spChg chg="add del">
          <ac:chgData name="Stefan Vlad Tudor" userId="a1add301-ea1b-4eef-b81e-d7bdb00d5699" providerId="ADAL" clId="{330EA053-2BE8-4297-9579-7C0F3D450B40}" dt="2024-07-29T16:04:55.645" v="123" actId="478"/>
          <ac:spMkLst>
            <pc:docMk/>
            <pc:sldMk cId="554908520" sldId="2002"/>
            <ac:spMk id="102" creationId="{B42FC33E-6A20-4A33-8F64-72B9D5138FF9}"/>
          </ac:spMkLst>
        </pc:spChg>
        <pc:grpChg chg="add del">
          <ac:chgData name="Stefan Vlad Tudor" userId="a1add301-ea1b-4eef-b81e-d7bdb00d5699" providerId="ADAL" clId="{330EA053-2BE8-4297-9579-7C0F3D450B40}" dt="2024-07-29T16:04:55.452" v="122" actId="478"/>
          <ac:grpSpMkLst>
            <pc:docMk/>
            <pc:sldMk cId="554908520" sldId="2002"/>
            <ac:grpSpMk id="10" creationId="{804F8513-2537-95F2-F834-69C33D3BDD8E}"/>
          </ac:grpSpMkLst>
        </pc:grpChg>
        <pc:grpChg chg="mod">
          <ac:chgData name="Stefan Vlad Tudor" userId="a1add301-ea1b-4eef-b81e-d7bdb00d5699" providerId="ADAL" clId="{330EA053-2BE8-4297-9579-7C0F3D450B40}" dt="2024-07-29T15:59:54.122" v="80" actId="14100"/>
          <ac:grpSpMkLst>
            <pc:docMk/>
            <pc:sldMk cId="554908520" sldId="2002"/>
            <ac:grpSpMk id="17" creationId="{9CF0E9E1-36BB-8CA6-E6CE-5DEEB354DF57}"/>
          </ac:grpSpMkLst>
        </pc:grpChg>
        <pc:picChg chg="add del">
          <ac:chgData name="Stefan Vlad Tudor" userId="a1add301-ea1b-4eef-b81e-d7bdb00d5699" providerId="ADAL" clId="{330EA053-2BE8-4297-9579-7C0F3D450B40}" dt="2024-07-31T09:52:15.564" v="292" actId="478"/>
          <ac:picMkLst>
            <pc:docMk/>
            <pc:sldMk cId="554908520" sldId="2002"/>
            <ac:picMk id="19" creationId="{76E1CB12-7883-0F91-626F-64D037603B1F}"/>
          </ac:picMkLst>
        </pc:picChg>
        <pc:picChg chg="add del mod">
          <ac:chgData name="Stefan Vlad Tudor" userId="a1add301-ea1b-4eef-b81e-d7bdb00d5699" providerId="ADAL" clId="{330EA053-2BE8-4297-9579-7C0F3D450B40}" dt="2024-07-31T10:35:27.416" v="1381" actId="21"/>
          <ac:picMkLst>
            <pc:docMk/>
            <pc:sldMk cId="554908520" sldId="2002"/>
            <ac:picMk id="24" creationId="{7226F8AD-FFFB-0308-736B-F3D36E89927A}"/>
          </ac:picMkLst>
        </pc:picChg>
        <pc:picChg chg="del">
          <ac:chgData name="Stefan Vlad Tudor" userId="a1add301-ea1b-4eef-b81e-d7bdb00d5699" providerId="ADAL" clId="{330EA053-2BE8-4297-9579-7C0F3D450B40}" dt="2024-07-31T09:52:47.679" v="327" actId="478"/>
          <ac:picMkLst>
            <pc:docMk/>
            <pc:sldMk cId="554908520" sldId="2002"/>
            <ac:picMk id="103" creationId="{AFEC892D-3BAE-4AE2-A5C7-A5948D25496C}"/>
          </ac:picMkLst>
        </pc:picChg>
      </pc:sldChg>
      <pc:sldChg chg="addSp delSp modSp add mod">
        <pc:chgData name="Stefan Vlad Tudor" userId="a1add301-ea1b-4eef-b81e-d7bdb00d5699" providerId="ADAL" clId="{330EA053-2BE8-4297-9579-7C0F3D450B40}" dt="2024-08-01T15:10:36.671" v="3917" actId="404"/>
        <pc:sldMkLst>
          <pc:docMk/>
          <pc:sldMk cId="4080707910" sldId="2003"/>
        </pc:sldMkLst>
        <pc:spChg chg="mod">
          <ac:chgData name="Stefan Vlad Tudor" userId="a1add301-ea1b-4eef-b81e-d7bdb00d5699" providerId="ADAL" clId="{330EA053-2BE8-4297-9579-7C0F3D450B40}" dt="2024-07-31T10:44:06.490" v="1463" actId="14100"/>
          <ac:spMkLst>
            <pc:docMk/>
            <pc:sldMk cId="4080707910" sldId="2003"/>
            <ac:spMk id="2" creationId="{151BED59-5C11-44C8-83AE-800254DD3337}"/>
          </ac:spMkLst>
        </pc:spChg>
        <pc:spChg chg="add del mod">
          <ac:chgData name="Stefan Vlad Tudor" userId="a1add301-ea1b-4eef-b81e-d7bdb00d5699" providerId="ADAL" clId="{330EA053-2BE8-4297-9579-7C0F3D450B40}" dt="2024-07-31T10:48:24.889" v="1535" actId="478"/>
          <ac:spMkLst>
            <pc:docMk/>
            <pc:sldMk cId="4080707910" sldId="2003"/>
            <ac:spMk id="3" creationId="{044FE549-1985-176E-A2F1-B1AF318955B3}"/>
          </ac:spMkLst>
        </pc:spChg>
        <pc:spChg chg="add mod">
          <ac:chgData name="Stefan Vlad Tudor" userId="a1add301-ea1b-4eef-b81e-d7bdb00d5699" providerId="ADAL" clId="{330EA053-2BE8-4297-9579-7C0F3D450B40}" dt="2024-07-31T10:46:07.397" v="1507" actId="1076"/>
          <ac:spMkLst>
            <pc:docMk/>
            <pc:sldMk cId="4080707910" sldId="2003"/>
            <ac:spMk id="4" creationId="{1FF1BCBA-2178-C30E-8539-9E8A651CB91F}"/>
          </ac:spMkLst>
        </pc:spChg>
        <pc:spChg chg="mod">
          <ac:chgData name="Stefan Vlad Tudor" userId="a1add301-ea1b-4eef-b81e-d7bdb00d5699" providerId="ADAL" clId="{330EA053-2BE8-4297-9579-7C0F3D450B40}" dt="2024-07-31T10:39:28.813" v="1420"/>
          <ac:spMkLst>
            <pc:docMk/>
            <pc:sldMk cId="4080707910" sldId="2003"/>
            <ac:spMk id="11" creationId="{3C274F0F-1BEE-CF65-4B18-13476011852A}"/>
          </ac:spMkLst>
        </pc:spChg>
        <pc:spChg chg="del mod">
          <ac:chgData name="Stefan Vlad Tudor" userId="a1add301-ea1b-4eef-b81e-d7bdb00d5699" providerId="ADAL" clId="{330EA053-2BE8-4297-9579-7C0F3D450B40}" dt="2024-07-31T10:39:38.635" v="1422" actId="478"/>
          <ac:spMkLst>
            <pc:docMk/>
            <pc:sldMk cId="4080707910" sldId="2003"/>
            <ac:spMk id="12" creationId="{A379C7C2-C08F-5762-D4A1-D127C98ABE6C}"/>
          </ac:spMkLst>
        </pc:spChg>
        <pc:spChg chg="add mod">
          <ac:chgData name="Stefan Vlad Tudor" userId="a1add301-ea1b-4eef-b81e-d7bdb00d5699" providerId="ADAL" clId="{330EA053-2BE8-4297-9579-7C0F3D450B40}" dt="2024-07-31T10:46:56.975" v="1526" actId="1076"/>
          <ac:spMkLst>
            <pc:docMk/>
            <pc:sldMk cId="4080707910" sldId="2003"/>
            <ac:spMk id="14" creationId="{D65CD9B4-9F62-989D-E6F6-91979A430677}"/>
          </ac:spMkLst>
        </pc:spChg>
        <pc:spChg chg="add mod">
          <ac:chgData name="Stefan Vlad Tudor" userId="a1add301-ea1b-4eef-b81e-d7bdb00d5699" providerId="ADAL" clId="{330EA053-2BE8-4297-9579-7C0F3D450B40}" dt="2024-07-31T10:45:59.104" v="1506" actId="1076"/>
          <ac:spMkLst>
            <pc:docMk/>
            <pc:sldMk cId="4080707910" sldId="2003"/>
            <ac:spMk id="15" creationId="{AD29DAF1-7254-58C3-C2D9-D551BF31333E}"/>
          </ac:spMkLst>
        </pc:spChg>
        <pc:spChg chg="add mod">
          <ac:chgData name="Stefan Vlad Tudor" userId="a1add301-ea1b-4eef-b81e-d7bdb00d5699" providerId="ADAL" clId="{330EA053-2BE8-4297-9579-7C0F3D450B40}" dt="2024-08-01T13:34:58.193" v="2495" actId="1076"/>
          <ac:spMkLst>
            <pc:docMk/>
            <pc:sldMk cId="4080707910" sldId="2003"/>
            <ac:spMk id="17" creationId="{3BDD347C-A694-165F-999B-159452A57C15}"/>
          </ac:spMkLst>
        </pc:spChg>
        <pc:spChg chg="mod">
          <ac:chgData name="Stefan Vlad Tudor" userId="a1add301-ea1b-4eef-b81e-d7bdb00d5699" providerId="ADAL" clId="{330EA053-2BE8-4297-9579-7C0F3D450B40}" dt="2024-07-31T10:44:12.466" v="1465"/>
          <ac:spMkLst>
            <pc:docMk/>
            <pc:sldMk cId="4080707910" sldId="2003"/>
            <ac:spMk id="19" creationId="{3C274F0F-1BEE-CF65-4B18-13476011852A}"/>
          </ac:spMkLst>
        </pc:spChg>
        <pc:spChg chg="add del mod">
          <ac:chgData name="Stefan Vlad Tudor" userId="a1add301-ea1b-4eef-b81e-d7bdb00d5699" providerId="ADAL" clId="{330EA053-2BE8-4297-9579-7C0F3D450B40}" dt="2024-07-31T10:45:26.301" v="1497" actId="478"/>
          <ac:spMkLst>
            <pc:docMk/>
            <pc:sldMk cId="4080707910" sldId="2003"/>
            <ac:spMk id="21" creationId="{6EBD87A2-AAFA-DBF9-2FBA-1DBCBACCB0C7}"/>
          </ac:spMkLst>
        </pc:spChg>
        <pc:spChg chg="add mod">
          <ac:chgData name="Stefan Vlad Tudor" userId="a1add301-ea1b-4eef-b81e-d7bdb00d5699" providerId="ADAL" clId="{330EA053-2BE8-4297-9579-7C0F3D450B40}" dt="2024-07-31T10:47:04.498" v="1527" actId="1076"/>
          <ac:spMkLst>
            <pc:docMk/>
            <pc:sldMk cId="4080707910" sldId="2003"/>
            <ac:spMk id="22" creationId="{BA17D954-E480-2D45-91A7-925860AEB52E}"/>
          </ac:spMkLst>
        </pc:spChg>
        <pc:spChg chg="add mod">
          <ac:chgData name="Stefan Vlad Tudor" userId="a1add301-ea1b-4eef-b81e-d7bdb00d5699" providerId="ADAL" clId="{330EA053-2BE8-4297-9579-7C0F3D450B40}" dt="2024-07-31T10:47:12.695" v="1533" actId="20577"/>
          <ac:spMkLst>
            <pc:docMk/>
            <pc:sldMk cId="4080707910" sldId="2003"/>
            <ac:spMk id="23" creationId="{C6B71D70-D58E-F3E3-A7DD-22A94AE3DC5D}"/>
          </ac:spMkLst>
        </pc:spChg>
        <pc:spChg chg="add mod">
          <ac:chgData name="Stefan Vlad Tudor" userId="a1add301-ea1b-4eef-b81e-d7bdb00d5699" providerId="ADAL" clId="{330EA053-2BE8-4297-9579-7C0F3D450B40}" dt="2024-08-01T15:10:36.671" v="3917" actId="404"/>
          <ac:spMkLst>
            <pc:docMk/>
            <pc:sldMk cId="4080707910" sldId="2003"/>
            <ac:spMk id="32" creationId="{8E021D2E-3D3A-26C3-582A-0973FDBD2B51}"/>
          </ac:spMkLst>
        </pc:spChg>
        <pc:spChg chg="add del mod">
          <ac:chgData name="Stefan Vlad Tudor" userId="a1add301-ea1b-4eef-b81e-d7bdb00d5699" providerId="ADAL" clId="{330EA053-2BE8-4297-9579-7C0F3D450B40}" dt="2024-08-01T12:57:44.738" v="1950" actId="21"/>
          <ac:spMkLst>
            <pc:docMk/>
            <pc:sldMk cId="4080707910" sldId="2003"/>
            <ac:spMk id="34" creationId="{7DFF7CA2-35B5-CDF5-1140-1498196601F6}"/>
          </ac:spMkLst>
        </pc:spChg>
        <pc:spChg chg="add mod">
          <ac:chgData name="Stefan Vlad Tudor" userId="a1add301-ea1b-4eef-b81e-d7bdb00d5699" providerId="ADAL" clId="{330EA053-2BE8-4297-9579-7C0F3D450B40}" dt="2024-08-01T13:34:55.553" v="2494" actId="1076"/>
          <ac:spMkLst>
            <pc:docMk/>
            <pc:sldMk cId="4080707910" sldId="2003"/>
            <ac:spMk id="36" creationId="{A01AB47B-ABCF-B39B-D6D0-89A85B6CF41E}"/>
          </ac:spMkLst>
        </pc:spChg>
        <pc:spChg chg="add del mod">
          <ac:chgData name="Stefan Vlad Tudor" userId="a1add301-ea1b-4eef-b81e-d7bdb00d5699" providerId="ADAL" clId="{330EA053-2BE8-4297-9579-7C0F3D450B40}" dt="2024-08-01T14:48:21.405" v="3426"/>
          <ac:spMkLst>
            <pc:docMk/>
            <pc:sldMk cId="4080707910" sldId="2003"/>
            <ac:spMk id="44" creationId="{7F8ABD36-C145-1A70-0DFE-2709D35DCF95}"/>
          </ac:spMkLst>
        </pc:spChg>
        <pc:spChg chg="del">
          <ac:chgData name="Stefan Vlad Tudor" userId="a1add301-ea1b-4eef-b81e-d7bdb00d5699" providerId="ADAL" clId="{330EA053-2BE8-4297-9579-7C0F3D450B40}" dt="2024-07-29T16:05:01.359" v="128" actId="478"/>
          <ac:spMkLst>
            <pc:docMk/>
            <pc:sldMk cId="4080707910" sldId="2003"/>
            <ac:spMk id="102" creationId="{B42FC33E-6A20-4A33-8F64-72B9D5138FF9}"/>
          </ac:spMkLst>
        </pc:spChg>
        <pc:grpChg chg="del">
          <ac:chgData name="Stefan Vlad Tudor" userId="a1add301-ea1b-4eef-b81e-d7bdb00d5699" providerId="ADAL" clId="{330EA053-2BE8-4297-9579-7C0F3D450B40}" dt="2024-07-29T16:04:33.030" v="109" actId="478"/>
          <ac:grpSpMkLst>
            <pc:docMk/>
            <pc:sldMk cId="4080707910" sldId="2003"/>
            <ac:grpSpMk id="5" creationId="{D85D2E02-519E-822A-100F-E89885FCFB38}"/>
          </ac:grpSpMkLst>
        </pc:grpChg>
        <pc:grpChg chg="del">
          <ac:chgData name="Stefan Vlad Tudor" userId="a1add301-ea1b-4eef-b81e-d7bdb00d5699" providerId="ADAL" clId="{330EA053-2BE8-4297-9579-7C0F3D450B40}" dt="2024-07-29T16:04:38.002" v="116" actId="478"/>
          <ac:grpSpMkLst>
            <pc:docMk/>
            <pc:sldMk cId="4080707910" sldId="2003"/>
            <ac:grpSpMk id="6" creationId="{7B216784-4687-7635-2CE0-AB548BEA1C0F}"/>
          </ac:grpSpMkLst>
        </pc:grpChg>
        <pc:grpChg chg="del">
          <ac:chgData name="Stefan Vlad Tudor" userId="a1add301-ea1b-4eef-b81e-d7bdb00d5699" providerId="ADAL" clId="{330EA053-2BE8-4297-9579-7C0F3D450B40}" dt="2024-07-29T16:04:34.182" v="111" actId="478"/>
          <ac:grpSpMkLst>
            <pc:docMk/>
            <pc:sldMk cId="4080707910" sldId="2003"/>
            <ac:grpSpMk id="8" creationId="{B03D90B7-0F65-99CC-67FD-EA0A15CACAF4}"/>
          </ac:grpSpMkLst>
        </pc:grpChg>
        <pc:grpChg chg="add del">
          <ac:chgData name="Stefan Vlad Tudor" userId="a1add301-ea1b-4eef-b81e-d7bdb00d5699" providerId="ADAL" clId="{330EA053-2BE8-4297-9579-7C0F3D450B40}" dt="2024-07-29T16:04:59.183" v="126" actId="478"/>
          <ac:grpSpMkLst>
            <pc:docMk/>
            <pc:sldMk cId="4080707910" sldId="2003"/>
            <ac:grpSpMk id="9" creationId="{BBB1AC49-56BF-2B72-1BDC-1E6F1A344786}"/>
          </ac:grpSpMkLst>
        </pc:grpChg>
        <pc:grpChg chg="add del mod">
          <ac:chgData name="Stefan Vlad Tudor" userId="a1add301-ea1b-4eef-b81e-d7bdb00d5699" providerId="ADAL" clId="{330EA053-2BE8-4297-9579-7C0F3D450B40}" dt="2024-07-31T10:44:11.113" v="1464" actId="21"/>
          <ac:grpSpMkLst>
            <pc:docMk/>
            <pc:sldMk cId="4080707910" sldId="2003"/>
            <ac:grpSpMk id="10" creationId="{642356AA-B33D-D2D7-2ECA-2CDB1C521718}"/>
          </ac:grpSpMkLst>
        </pc:grpChg>
        <pc:grpChg chg="del">
          <ac:chgData name="Stefan Vlad Tudor" userId="a1add301-ea1b-4eef-b81e-d7bdb00d5699" providerId="ADAL" clId="{330EA053-2BE8-4297-9579-7C0F3D450B40}" dt="2024-07-29T16:04:36.163" v="113" actId="478"/>
          <ac:grpSpMkLst>
            <pc:docMk/>
            <pc:sldMk cId="4080707910" sldId="2003"/>
            <ac:grpSpMk id="10" creationId="{804F8513-2537-95F2-F834-69C33D3BDD8E}"/>
          </ac:grpSpMkLst>
        </pc:grpChg>
        <pc:grpChg chg="del">
          <ac:chgData name="Stefan Vlad Tudor" userId="a1add301-ea1b-4eef-b81e-d7bdb00d5699" providerId="ADAL" clId="{330EA053-2BE8-4297-9579-7C0F3D450B40}" dt="2024-07-29T16:04:38.856" v="117" actId="478"/>
          <ac:grpSpMkLst>
            <pc:docMk/>
            <pc:sldMk cId="4080707910" sldId="2003"/>
            <ac:grpSpMk id="11" creationId="{93450F20-B767-3A18-5C27-A3684E8D3E8A}"/>
          </ac:grpSpMkLst>
        </pc:grpChg>
        <pc:grpChg chg="del">
          <ac:chgData name="Stefan Vlad Tudor" userId="a1add301-ea1b-4eef-b81e-d7bdb00d5699" providerId="ADAL" clId="{330EA053-2BE8-4297-9579-7C0F3D450B40}" dt="2024-07-29T16:04:34.831" v="112" actId="478"/>
          <ac:grpSpMkLst>
            <pc:docMk/>
            <pc:sldMk cId="4080707910" sldId="2003"/>
            <ac:grpSpMk id="12" creationId="{E9501F82-EAE1-4E5A-F9C6-83B60248C2BA}"/>
          </ac:grpSpMkLst>
        </pc:grpChg>
        <pc:grpChg chg="del">
          <ac:chgData name="Stefan Vlad Tudor" userId="a1add301-ea1b-4eef-b81e-d7bdb00d5699" providerId="ADAL" clId="{330EA053-2BE8-4297-9579-7C0F3D450B40}" dt="2024-07-29T16:04:33.793" v="110" actId="478"/>
          <ac:grpSpMkLst>
            <pc:docMk/>
            <pc:sldMk cId="4080707910" sldId="2003"/>
            <ac:grpSpMk id="16" creationId="{775C5017-C8CC-591E-D07A-1A5A79F2F6E6}"/>
          </ac:grpSpMkLst>
        </pc:grpChg>
        <pc:grpChg chg="del">
          <ac:chgData name="Stefan Vlad Tudor" userId="a1add301-ea1b-4eef-b81e-d7bdb00d5699" providerId="ADAL" clId="{330EA053-2BE8-4297-9579-7C0F3D450B40}" dt="2024-07-29T16:04:37.232" v="115" actId="478"/>
          <ac:grpSpMkLst>
            <pc:docMk/>
            <pc:sldMk cId="4080707910" sldId="2003"/>
            <ac:grpSpMk id="17" creationId="{9CF0E9E1-36BB-8CA6-E6CE-5DEEB354DF57}"/>
          </ac:grpSpMkLst>
        </pc:grpChg>
        <pc:grpChg chg="del">
          <ac:chgData name="Stefan Vlad Tudor" userId="a1add301-ea1b-4eef-b81e-d7bdb00d5699" providerId="ADAL" clId="{330EA053-2BE8-4297-9579-7C0F3D450B40}" dt="2024-07-29T16:04:36.698" v="114" actId="478"/>
          <ac:grpSpMkLst>
            <pc:docMk/>
            <pc:sldMk cId="4080707910" sldId="2003"/>
            <ac:grpSpMk id="18" creationId="{461B4077-B111-3BBC-2B88-1C153596B3E5}"/>
          </ac:grpSpMkLst>
        </pc:grpChg>
        <pc:grpChg chg="add mod">
          <ac:chgData name="Stefan Vlad Tudor" userId="a1add301-ea1b-4eef-b81e-d7bdb00d5699" providerId="ADAL" clId="{330EA053-2BE8-4297-9579-7C0F3D450B40}" dt="2024-07-31T10:45:59.104" v="1506" actId="1076"/>
          <ac:grpSpMkLst>
            <pc:docMk/>
            <pc:sldMk cId="4080707910" sldId="2003"/>
            <ac:grpSpMk id="18" creationId="{642356AA-B33D-D2D7-2ECA-2CDB1C521718}"/>
          </ac:grpSpMkLst>
        </pc:grpChg>
        <pc:picChg chg="add mod">
          <ac:chgData name="Stefan Vlad Tudor" userId="a1add301-ea1b-4eef-b81e-d7bdb00d5699" providerId="ADAL" clId="{330EA053-2BE8-4297-9579-7C0F3D450B40}" dt="2024-07-31T10:46:07.397" v="1507" actId="1076"/>
          <ac:picMkLst>
            <pc:docMk/>
            <pc:sldMk cId="4080707910" sldId="2003"/>
            <ac:picMk id="6" creationId="{FBD16DFE-8A70-6495-4A82-D8F260D45BEE}"/>
          </ac:picMkLst>
        </pc:picChg>
        <pc:picChg chg="add mod">
          <ac:chgData name="Stefan Vlad Tudor" userId="a1add301-ea1b-4eef-b81e-d7bdb00d5699" providerId="ADAL" clId="{330EA053-2BE8-4297-9579-7C0F3D450B40}" dt="2024-07-31T10:46:56.975" v="1526" actId="1076"/>
          <ac:picMkLst>
            <pc:docMk/>
            <pc:sldMk cId="4080707910" sldId="2003"/>
            <ac:picMk id="9" creationId="{197A23A3-156A-8621-5F55-17B52B7F1DFF}"/>
          </ac:picMkLst>
        </pc:picChg>
        <pc:picChg chg="mod">
          <ac:chgData name="Stefan Vlad Tudor" userId="a1add301-ea1b-4eef-b81e-d7bdb00d5699" providerId="ADAL" clId="{330EA053-2BE8-4297-9579-7C0F3D450B40}" dt="2024-07-31T10:39:28.813" v="1420"/>
          <ac:picMkLst>
            <pc:docMk/>
            <pc:sldMk cId="4080707910" sldId="2003"/>
            <ac:picMk id="13" creationId="{B82B6A7C-819A-9EA5-D791-D46A0DF7BC40}"/>
          </ac:picMkLst>
        </pc:picChg>
        <pc:picChg chg="del">
          <ac:chgData name="Stefan Vlad Tudor" userId="a1add301-ea1b-4eef-b81e-d7bdb00d5699" providerId="ADAL" clId="{330EA053-2BE8-4297-9579-7C0F3D450B40}" dt="2024-07-29T16:04:59.804" v="127" actId="478"/>
          <ac:picMkLst>
            <pc:docMk/>
            <pc:sldMk cId="4080707910" sldId="2003"/>
            <ac:picMk id="19" creationId="{76E1CB12-7883-0F91-626F-64D037603B1F}"/>
          </ac:picMkLst>
        </pc:picChg>
        <pc:picChg chg="mod">
          <ac:chgData name="Stefan Vlad Tudor" userId="a1add301-ea1b-4eef-b81e-d7bdb00d5699" providerId="ADAL" clId="{330EA053-2BE8-4297-9579-7C0F3D450B40}" dt="2024-07-31T10:44:12.466" v="1465"/>
          <ac:picMkLst>
            <pc:docMk/>
            <pc:sldMk cId="4080707910" sldId="2003"/>
            <ac:picMk id="20" creationId="{B82B6A7C-819A-9EA5-D791-D46A0DF7BC40}"/>
          </ac:picMkLst>
        </pc:picChg>
        <pc:picChg chg="add mod modCrop">
          <ac:chgData name="Stefan Vlad Tudor" userId="a1add301-ea1b-4eef-b81e-d7bdb00d5699" providerId="ADAL" clId="{330EA053-2BE8-4297-9579-7C0F3D450B40}" dt="2024-07-31T10:46:07.397" v="1507" actId="1076"/>
          <ac:picMkLst>
            <pc:docMk/>
            <pc:sldMk cId="4080707910" sldId="2003"/>
            <ac:picMk id="24" creationId="{7226F8AD-FFFB-0308-736B-F3D36E89927A}"/>
          </ac:picMkLst>
        </pc:picChg>
        <pc:picChg chg="add del mod">
          <ac:chgData name="Stefan Vlad Tudor" userId="a1add301-ea1b-4eef-b81e-d7bdb00d5699" providerId="ADAL" clId="{330EA053-2BE8-4297-9579-7C0F3D450B40}" dt="2024-07-31T10:50:34.422" v="1541" actId="478"/>
          <ac:picMkLst>
            <pc:docMk/>
            <pc:sldMk cId="4080707910" sldId="2003"/>
            <ac:picMk id="26" creationId="{BD19DCA2-DAA9-9B28-DC49-A2541CF07652}"/>
          </ac:picMkLst>
        </pc:picChg>
        <pc:picChg chg="add del mod">
          <ac:chgData name="Stefan Vlad Tudor" userId="a1add301-ea1b-4eef-b81e-d7bdb00d5699" providerId="ADAL" clId="{330EA053-2BE8-4297-9579-7C0F3D450B40}" dt="2024-07-31T10:50:34.422" v="1541" actId="478"/>
          <ac:picMkLst>
            <pc:docMk/>
            <pc:sldMk cId="4080707910" sldId="2003"/>
            <ac:picMk id="28" creationId="{B500810C-EA17-B216-28CA-7524E5EAF7D7}"/>
          </ac:picMkLst>
        </pc:picChg>
        <pc:picChg chg="add del mod">
          <ac:chgData name="Stefan Vlad Tudor" userId="a1add301-ea1b-4eef-b81e-d7bdb00d5699" providerId="ADAL" clId="{330EA053-2BE8-4297-9579-7C0F3D450B40}" dt="2024-07-31T10:51:12.035" v="1544" actId="478"/>
          <ac:picMkLst>
            <pc:docMk/>
            <pc:sldMk cId="4080707910" sldId="2003"/>
            <ac:picMk id="30" creationId="{3531BCDD-F606-3B36-AAAF-90C034D5A2A7}"/>
          </ac:picMkLst>
        </pc:picChg>
        <pc:picChg chg="add del mod">
          <ac:chgData name="Stefan Vlad Tudor" userId="a1add301-ea1b-4eef-b81e-d7bdb00d5699" providerId="ADAL" clId="{330EA053-2BE8-4297-9579-7C0F3D450B40}" dt="2024-08-01T13:34:19.977" v="2472" actId="478"/>
          <ac:picMkLst>
            <pc:docMk/>
            <pc:sldMk cId="4080707910" sldId="2003"/>
            <ac:picMk id="38" creationId="{F14DB835-3A8D-7124-270D-68B562DEF8F7}"/>
          </ac:picMkLst>
        </pc:picChg>
        <pc:picChg chg="add del mod">
          <ac:chgData name="Stefan Vlad Tudor" userId="a1add301-ea1b-4eef-b81e-d7bdb00d5699" providerId="ADAL" clId="{330EA053-2BE8-4297-9579-7C0F3D450B40}" dt="2024-08-01T13:34:19.329" v="2471" actId="478"/>
          <ac:picMkLst>
            <pc:docMk/>
            <pc:sldMk cId="4080707910" sldId="2003"/>
            <ac:picMk id="39" creationId="{AAF49528-5C59-F89A-2951-F141D0B5F833}"/>
          </ac:picMkLst>
        </pc:picChg>
        <pc:picChg chg="add mod">
          <ac:chgData name="Stefan Vlad Tudor" userId="a1add301-ea1b-4eef-b81e-d7bdb00d5699" providerId="ADAL" clId="{330EA053-2BE8-4297-9579-7C0F3D450B40}" dt="2024-08-01T14:51:34.520" v="3451" actId="1076"/>
          <ac:picMkLst>
            <pc:docMk/>
            <pc:sldMk cId="4080707910" sldId="2003"/>
            <ac:picMk id="40" creationId="{C2EB9AD7-4B10-B2EE-B935-949F69AF5D8C}"/>
          </ac:picMkLst>
        </pc:picChg>
        <pc:picChg chg="add mod">
          <ac:chgData name="Stefan Vlad Tudor" userId="a1add301-ea1b-4eef-b81e-d7bdb00d5699" providerId="ADAL" clId="{330EA053-2BE8-4297-9579-7C0F3D450B40}" dt="2024-08-01T14:51:32.246" v="3450" actId="1076"/>
          <ac:picMkLst>
            <pc:docMk/>
            <pc:sldMk cId="4080707910" sldId="2003"/>
            <ac:picMk id="41" creationId="{65DC3C2D-78CE-BABC-8AF2-0FDF2EA05EAD}"/>
          </ac:picMkLst>
        </pc:picChg>
        <pc:picChg chg="add mod">
          <ac:chgData name="Stefan Vlad Tudor" userId="a1add301-ea1b-4eef-b81e-d7bdb00d5699" providerId="ADAL" clId="{330EA053-2BE8-4297-9579-7C0F3D450B40}" dt="2024-08-01T14:51:37.806" v="3452" actId="1076"/>
          <ac:picMkLst>
            <pc:docMk/>
            <pc:sldMk cId="4080707910" sldId="2003"/>
            <ac:picMk id="42" creationId="{E51B60E1-CF37-CBE3-7DBA-0B981F8EC2B2}"/>
          </ac:picMkLst>
        </pc:picChg>
        <pc:picChg chg="del">
          <ac:chgData name="Stefan Vlad Tudor" userId="a1add301-ea1b-4eef-b81e-d7bdb00d5699" providerId="ADAL" clId="{330EA053-2BE8-4297-9579-7C0F3D450B40}" dt="2024-07-29T16:12:46.515" v="228" actId="478"/>
          <ac:picMkLst>
            <pc:docMk/>
            <pc:sldMk cId="4080707910" sldId="2003"/>
            <ac:picMk id="103" creationId="{AFEC892D-3BAE-4AE2-A5C7-A5948D25496C}"/>
          </ac:picMkLst>
        </pc:picChg>
      </pc:sldChg>
      <pc:sldChg chg="addSp delSp modSp new mod ord">
        <pc:chgData name="Stefan Vlad Tudor" userId="a1add301-ea1b-4eef-b81e-d7bdb00d5699" providerId="ADAL" clId="{330EA053-2BE8-4297-9579-7C0F3D450B40}" dt="2024-08-01T15:23:00.795" v="3981" actId="115"/>
        <pc:sldMkLst>
          <pc:docMk/>
          <pc:sldMk cId="3529989107" sldId="2004"/>
        </pc:sldMkLst>
        <pc:spChg chg="mod">
          <ac:chgData name="Stefan Vlad Tudor" userId="a1add301-ea1b-4eef-b81e-d7bdb00d5699" providerId="ADAL" clId="{330EA053-2BE8-4297-9579-7C0F3D450B40}" dt="2024-08-01T14:33:28.137" v="3334" actId="20577"/>
          <ac:spMkLst>
            <pc:docMk/>
            <pc:sldMk cId="3529989107" sldId="2004"/>
            <ac:spMk id="2" creationId="{59C77342-9CA9-9F3B-A534-3D7301C5A33D}"/>
          </ac:spMkLst>
        </pc:spChg>
        <pc:spChg chg="del mod">
          <ac:chgData name="Stefan Vlad Tudor" userId="a1add301-ea1b-4eef-b81e-d7bdb00d5699" providerId="ADAL" clId="{330EA053-2BE8-4297-9579-7C0F3D450B40}" dt="2024-08-01T14:44:40.154" v="3347" actId="478"/>
          <ac:spMkLst>
            <pc:docMk/>
            <pc:sldMk cId="3529989107" sldId="2004"/>
            <ac:spMk id="3" creationId="{0C4C5402-58D8-5397-4E58-F7AD9DE339F1}"/>
          </ac:spMkLst>
        </pc:spChg>
        <pc:spChg chg="add del mod">
          <ac:chgData name="Stefan Vlad Tudor" userId="a1add301-ea1b-4eef-b81e-d7bdb00d5699" providerId="ADAL" clId="{330EA053-2BE8-4297-9579-7C0F3D450B40}" dt="2024-08-01T14:44:41.944" v="3348" actId="478"/>
          <ac:spMkLst>
            <pc:docMk/>
            <pc:sldMk cId="3529989107" sldId="2004"/>
            <ac:spMk id="11" creationId="{0061AD0D-D2B0-0762-161C-3FD3CE3ABB9C}"/>
          </ac:spMkLst>
        </pc:spChg>
        <pc:spChg chg="add mod">
          <ac:chgData name="Stefan Vlad Tudor" userId="a1add301-ea1b-4eef-b81e-d7bdb00d5699" providerId="ADAL" clId="{330EA053-2BE8-4297-9579-7C0F3D450B40}" dt="2024-08-01T15:23:00.795" v="3981" actId="115"/>
          <ac:spMkLst>
            <pc:docMk/>
            <pc:sldMk cId="3529989107" sldId="2004"/>
            <ac:spMk id="13" creationId="{5D78498A-58C2-80BE-1326-F7861F0611EC}"/>
          </ac:spMkLst>
        </pc:spChg>
        <pc:spChg chg="add mod">
          <ac:chgData name="Stefan Vlad Tudor" userId="a1add301-ea1b-4eef-b81e-d7bdb00d5699" providerId="ADAL" clId="{330EA053-2BE8-4297-9579-7C0F3D450B40}" dt="2024-08-01T15:13:21.600" v="3944" actId="1076"/>
          <ac:spMkLst>
            <pc:docMk/>
            <pc:sldMk cId="3529989107" sldId="2004"/>
            <ac:spMk id="14" creationId="{AA392328-A4DC-77EE-FD7F-BC2AB9CB8B6F}"/>
          </ac:spMkLst>
        </pc:spChg>
        <pc:spChg chg="add mod">
          <ac:chgData name="Stefan Vlad Tudor" userId="a1add301-ea1b-4eef-b81e-d7bdb00d5699" providerId="ADAL" clId="{330EA053-2BE8-4297-9579-7C0F3D450B40}" dt="2024-08-01T15:13:24.659" v="3945" actId="14100"/>
          <ac:spMkLst>
            <pc:docMk/>
            <pc:sldMk cId="3529989107" sldId="2004"/>
            <ac:spMk id="15" creationId="{75DDCBD3-BCDD-8826-008A-787B8ED7BD71}"/>
          </ac:spMkLst>
        </pc:spChg>
        <pc:spChg chg="add del mod">
          <ac:chgData name="Stefan Vlad Tudor" userId="a1add301-ea1b-4eef-b81e-d7bdb00d5699" providerId="ADAL" clId="{330EA053-2BE8-4297-9579-7C0F3D450B40}" dt="2024-08-01T15:13:12.280" v="3941" actId="1076"/>
          <ac:spMkLst>
            <pc:docMk/>
            <pc:sldMk cId="3529989107" sldId="2004"/>
            <ac:spMk id="34" creationId="{7DFF7CA2-35B5-CDF5-1140-1498196601F6}"/>
          </ac:spMkLst>
        </pc:spChg>
        <pc:picChg chg="add del mod modCrop">
          <ac:chgData name="Stefan Vlad Tudor" userId="a1add301-ea1b-4eef-b81e-d7bdb00d5699" providerId="ADAL" clId="{330EA053-2BE8-4297-9579-7C0F3D450B40}" dt="2024-08-01T12:53:06.366" v="1930" actId="478"/>
          <ac:picMkLst>
            <pc:docMk/>
            <pc:sldMk cId="3529989107" sldId="2004"/>
            <ac:picMk id="5" creationId="{AEDD40E0-3B30-B71A-0577-AD59FB987208}"/>
          </ac:picMkLst>
        </pc:picChg>
        <pc:picChg chg="add del mod modCrop">
          <ac:chgData name="Stefan Vlad Tudor" userId="a1add301-ea1b-4eef-b81e-d7bdb00d5699" providerId="ADAL" clId="{330EA053-2BE8-4297-9579-7C0F3D450B40}" dt="2024-08-01T14:39:03.795" v="3335" actId="478"/>
          <ac:picMkLst>
            <pc:docMk/>
            <pc:sldMk cId="3529989107" sldId="2004"/>
            <ac:picMk id="7" creationId="{52B46262-4394-0707-E03C-11BF68046975}"/>
          </ac:picMkLst>
        </pc:picChg>
        <pc:picChg chg="add mod ord modCrop">
          <ac:chgData name="Stefan Vlad Tudor" userId="a1add301-ea1b-4eef-b81e-d7bdb00d5699" providerId="ADAL" clId="{330EA053-2BE8-4297-9579-7C0F3D450B40}" dt="2024-08-01T15:14:06.313" v="3950" actId="1076"/>
          <ac:picMkLst>
            <pc:docMk/>
            <pc:sldMk cId="3529989107" sldId="2004"/>
            <ac:picMk id="9" creationId="{AC43B58B-18C2-D5FB-C9F5-989E89DB96DA}"/>
          </ac:picMkLst>
        </pc:picChg>
      </pc:sldChg>
      <pc:sldChg chg="addSp delSp modSp add del mod">
        <pc:chgData name="Stefan Vlad Tudor" userId="a1add301-ea1b-4eef-b81e-d7bdb00d5699" providerId="ADAL" clId="{330EA053-2BE8-4297-9579-7C0F3D450B40}" dt="2024-08-01T14:28:13.611" v="3316" actId="47"/>
        <pc:sldMkLst>
          <pc:docMk/>
          <pc:sldMk cId="2415445980" sldId="2005"/>
        </pc:sldMkLst>
        <pc:spChg chg="mod">
          <ac:chgData name="Stefan Vlad Tudor" userId="a1add301-ea1b-4eef-b81e-d7bdb00d5699" providerId="ADAL" clId="{330EA053-2BE8-4297-9579-7C0F3D450B40}" dt="2024-08-01T07:40:43.905" v="1570" actId="20577"/>
          <ac:spMkLst>
            <pc:docMk/>
            <pc:sldMk cId="2415445980" sldId="2005"/>
            <ac:spMk id="2" creationId="{151BED59-5C11-44C8-83AE-800254DD3337}"/>
          </ac:spMkLst>
        </pc:spChg>
        <pc:spChg chg="add mod">
          <ac:chgData name="Stefan Vlad Tudor" userId="a1add301-ea1b-4eef-b81e-d7bdb00d5699" providerId="ADAL" clId="{330EA053-2BE8-4297-9579-7C0F3D450B40}" dt="2024-08-01T12:58:36.010" v="1954" actId="1076"/>
          <ac:spMkLst>
            <pc:docMk/>
            <pc:sldMk cId="2415445980" sldId="2005"/>
            <ac:spMk id="3" creationId="{44882233-FBEF-BD8A-E5F4-C2322DFB8209}"/>
          </ac:spMkLst>
        </pc:spChg>
        <pc:spChg chg="add mod">
          <ac:chgData name="Stefan Vlad Tudor" userId="a1add301-ea1b-4eef-b81e-d7bdb00d5699" providerId="ADAL" clId="{330EA053-2BE8-4297-9579-7C0F3D450B40}" dt="2024-08-01T13:36:14.160" v="2498" actId="1076"/>
          <ac:spMkLst>
            <pc:docMk/>
            <pc:sldMk cId="2415445980" sldId="2005"/>
            <ac:spMk id="5" creationId="{BB3546B0-F839-D907-9BB2-95248DDBB54A}"/>
          </ac:spMkLst>
        </pc:spChg>
        <pc:spChg chg="add mod">
          <ac:chgData name="Stefan Vlad Tudor" userId="a1add301-ea1b-4eef-b81e-d7bdb00d5699" providerId="ADAL" clId="{330EA053-2BE8-4297-9579-7C0F3D450B40}" dt="2024-08-01T13:36:14.160" v="2498" actId="1076"/>
          <ac:spMkLst>
            <pc:docMk/>
            <pc:sldMk cId="2415445980" sldId="2005"/>
            <ac:spMk id="9" creationId="{3E694D0A-5A08-ED77-F837-A35A8A8AFC3E}"/>
          </ac:spMkLst>
        </pc:spChg>
        <pc:spChg chg="mod">
          <ac:chgData name="Stefan Vlad Tudor" userId="a1add301-ea1b-4eef-b81e-d7bdb00d5699" providerId="ADAL" clId="{330EA053-2BE8-4297-9579-7C0F3D450B40}" dt="2024-08-01T13:36:10.747" v="2497"/>
          <ac:spMkLst>
            <pc:docMk/>
            <pc:sldMk cId="2415445980" sldId="2005"/>
            <ac:spMk id="11" creationId="{5AA170B9-1355-C3CC-C7B7-16657D0C6586}"/>
          </ac:spMkLst>
        </pc:spChg>
        <pc:grpChg chg="add mod">
          <ac:chgData name="Stefan Vlad Tudor" userId="a1add301-ea1b-4eef-b81e-d7bdb00d5699" providerId="ADAL" clId="{330EA053-2BE8-4297-9579-7C0F3D450B40}" dt="2024-08-01T13:36:14.160" v="2498" actId="1076"/>
          <ac:grpSpMkLst>
            <pc:docMk/>
            <pc:sldMk cId="2415445980" sldId="2005"/>
            <ac:grpSpMk id="10" creationId="{97AF0D30-8CE7-C7DB-B803-22D4EB66467A}"/>
          </ac:grpSpMkLst>
        </pc:grpChg>
        <pc:picChg chg="add mod">
          <ac:chgData name="Stefan Vlad Tudor" userId="a1add301-ea1b-4eef-b81e-d7bdb00d5699" providerId="ADAL" clId="{330EA053-2BE8-4297-9579-7C0F3D450B40}" dt="2024-08-01T13:36:14.160" v="2498" actId="1076"/>
          <ac:picMkLst>
            <pc:docMk/>
            <pc:sldMk cId="2415445980" sldId="2005"/>
            <ac:picMk id="4" creationId="{3B9116A2-6443-78F2-5414-05698E4D94AF}"/>
          </ac:picMkLst>
        </pc:picChg>
        <pc:picChg chg="add mod">
          <ac:chgData name="Stefan Vlad Tudor" userId="a1add301-ea1b-4eef-b81e-d7bdb00d5699" providerId="ADAL" clId="{330EA053-2BE8-4297-9579-7C0F3D450B40}" dt="2024-08-01T13:36:14.160" v="2498" actId="1076"/>
          <ac:picMkLst>
            <pc:docMk/>
            <pc:sldMk cId="2415445980" sldId="2005"/>
            <ac:picMk id="6" creationId="{367E8F3B-E645-7178-FFE6-C003E591F609}"/>
          </ac:picMkLst>
        </pc:picChg>
        <pc:picChg chg="add mod">
          <ac:chgData name="Stefan Vlad Tudor" userId="a1add301-ea1b-4eef-b81e-d7bdb00d5699" providerId="ADAL" clId="{330EA053-2BE8-4297-9579-7C0F3D450B40}" dt="2024-08-01T13:36:14.160" v="2498" actId="1076"/>
          <ac:picMkLst>
            <pc:docMk/>
            <pc:sldMk cId="2415445980" sldId="2005"/>
            <ac:picMk id="8" creationId="{E9680BB9-73AA-0FDD-49B6-53D43A2258AE}"/>
          </ac:picMkLst>
        </pc:picChg>
        <pc:picChg chg="mod">
          <ac:chgData name="Stefan Vlad Tudor" userId="a1add301-ea1b-4eef-b81e-d7bdb00d5699" providerId="ADAL" clId="{330EA053-2BE8-4297-9579-7C0F3D450B40}" dt="2024-08-01T13:36:10.747" v="2497"/>
          <ac:picMkLst>
            <pc:docMk/>
            <pc:sldMk cId="2415445980" sldId="2005"/>
            <ac:picMk id="12" creationId="{05FB3186-83AC-C8A3-F53E-E15887A3E1FF}"/>
          </ac:picMkLst>
        </pc:picChg>
        <pc:picChg chg="del">
          <ac:chgData name="Stefan Vlad Tudor" userId="a1add301-ea1b-4eef-b81e-d7bdb00d5699" providerId="ADAL" clId="{330EA053-2BE8-4297-9579-7C0F3D450B40}" dt="2024-07-29T16:12:43.872" v="227" actId="478"/>
          <ac:picMkLst>
            <pc:docMk/>
            <pc:sldMk cId="2415445980" sldId="2005"/>
            <ac:picMk id="103" creationId="{AFEC892D-3BAE-4AE2-A5C7-A5948D25496C}"/>
          </ac:picMkLst>
        </pc:picChg>
      </pc:sldChg>
      <pc:sldChg chg="addSp delSp modSp add mod ord">
        <pc:chgData name="Stefan Vlad Tudor" userId="a1add301-ea1b-4eef-b81e-d7bdb00d5699" providerId="ADAL" clId="{330EA053-2BE8-4297-9579-7C0F3D450B40}" dt="2024-08-01T15:20:08.338" v="3971" actId="20577"/>
        <pc:sldMkLst>
          <pc:docMk/>
          <pc:sldMk cId="2608857074" sldId="2006"/>
        </pc:sldMkLst>
        <pc:spChg chg="mod">
          <ac:chgData name="Stefan Vlad Tudor" userId="a1add301-ea1b-4eef-b81e-d7bdb00d5699" providerId="ADAL" clId="{330EA053-2BE8-4297-9579-7C0F3D450B40}" dt="2024-08-01T15:20:08.338" v="3971" actId="20577"/>
          <ac:spMkLst>
            <pc:docMk/>
            <pc:sldMk cId="2608857074" sldId="2006"/>
            <ac:spMk id="3" creationId="{44882233-FBEF-BD8A-E5F4-C2322DFB8209}"/>
          </ac:spMkLst>
        </pc:spChg>
        <pc:spChg chg="del">
          <ac:chgData name="Stefan Vlad Tudor" userId="a1add301-ea1b-4eef-b81e-d7bdb00d5699" providerId="ADAL" clId="{330EA053-2BE8-4297-9579-7C0F3D450B40}" dt="2024-08-01T13:56:58.090" v="2853" actId="478"/>
          <ac:spMkLst>
            <pc:docMk/>
            <pc:sldMk cId="2608857074" sldId="2006"/>
            <ac:spMk id="5" creationId="{BB3546B0-F839-D907-9BB2-95248DDBB54A}"/>
          </ac:spMkLst>
        </pc:spChg>
        <pc:spChg chg="del">
          <ac:chgData name="Stefan Vlad Tudor" userId="a1add301-ea1b-4eef-b81e-d7bdb00d5699" providerId="ADAL" clId="{330EA053-2BE8-4297-9579-7C0F3D450B40}" dt="2024-08-01T13:57:00.551" v="2854" actId="478"/>
          <ac:spMkLst>
            <pc:docMk/>
            <pc:sldMk cId="2608857074" sldId="2006"/>
            <ac:spMk id="9" creationId="{3E694D0A-5A08-ED77-F837-A35A8A8AFC3E}"/>
          </ac:spMkLst>
        </pc:spChg>
        <pc:spChg chg="add del mod">
          <ac:chgData name="Stefan Vlad Tudor" userId="a1add301-ea1b-4eef-b81e-d7bdb00d5699" providerId="ADAL" clId="{330EA053-2BE8-4297-9579-7C0F3D450B40}" dt="2024-08-01T14:06:52.600" v="3044" actId="478"/>
          <ac:spMkLst>
            <pc:docMk/>
            <pc:sldMk cId="2608857074" sldId="2006"/>
            <ac:spMk id="13" creationId="{58BCEEDA-D2EA-9188-54AF-01E0AF82E324}"/>
          </ac:spMkLst>
        </pc:spChg>
        <pc:spChg chg="add">
          <ac:chgData name="Stefan Vlad Tudor" userId="a1add301-ea1b-4eef-b81e-d7bdb00d5699" providerId="ADAL" clId="{330EA053-2BE8-4297-9579-7C0F3D450B40}" dt="2024-08-01T14:11:03.827" v="3060"/>
          <ac:spMkLst>
            <pc:docMk/>
            <pc:sldMk cId="2608857074" sldId="2006"/>
            <ac:spMk id="16" creationId="{0E9EFCB6-BD77-AE84-307B-5546A9922DF0}"/>
          </ac:spMkLst>
        </pc:spChg>
        <pc:spChg chg="add mod">
          <ac:chgData name="Stefan Vlad Tudor" userId="a1add301-ea1b-4eef-b81e-d7bdb00d5699" providerId="ADAL" clId="{330EA053-2BE8-4297-9579-7C0F3D450B40}" dt="2024-08-01T14:52:54.355" v="3464" actId="1076"/>
          <ac:spMkLst>
            <pc:docMk/>
            <pc:sldMk cId="2608857074" sldId="2006"/>
            <ac:spMk id="21" creationId="{9044BA9B-6E5C-B6A2-7D12-8DB8FA1FE0FF}"/>
          </ac:spMkLst>
        </pc:spChg>
        <pc:spChg chg="add mod">
          <ac:chgData name="Stefan Vlad Tudor" userId="a1add301-ea1b-4eef-b81e-d7bdb00d5699" providerId="ADAL" clId="{330EA053-2BE8-4297-9579-7C0F3D450B40}" dt="2024-08-01T14:52:54.355" v="3464" actId="1076"/>
          <ac:spMkLst>
            <pc:docMk/>
            <pc:sldMk cId="2608857074" sldId="2006"/>
            <ac:spMk id="22" creationId="{810AEE37-A02D-08FD-8A11-17EF3D947E29}"/>
          </ac:spMkLst>
        </pc:spChg>
        <pc:spChg chg="add mod">
          <ac:chgData name="Stefan Vlad Tudor" userId="a1add301-ea1b-4eef-b81e-d7bdb00d5699" providerId="ADAL" clId="{330EA053-2BE8-4297-9579-7C0F3D450B40}" dt="2024-08-01T14:52:54.355" v="3464" actId="1076"/>
          <ac:spMkLst>
            <pc:docMk/>
            <pc:sldMk cId="2608857074" sldId="2006"/>
            <ac:spMk id="23" creationId="{C74E30F7-30D9-52B5-52EB-85B53A7721A4}"/>
          </ac:spMkLst>
        </pc:spChg>
        <pc:spChg chg="add mod">
          <ac:chgData name="Stefan Vlad Tudor" userId="a1add301-ea1b-4eef-b81e-d7bdb00d5699" providerId="ADAL" clId="{330EA053-2BE8-4297-9579-7C0F3D450B40}" dt="2024-08-01T14:52:54.355" v="3464" actId="1076"/>
          <ac:spMkLst>
            <pc:docMk/>
            <pc:sldMk cId="2608857074" sldId="2006"/>
            <ac:spMk id="24" creationId="{FF7F3162-3CEF-2326-1A62-1A38FD6D08D2}"/>
          </ac:spMkLst>
        </pc:spChg>
        <pc:grpChg chg="del">
          <ac:chgData name="Stefan Vlad Tudor" userId="a1add301-ea1b-4eef-b81e-d7bdb00d5699" providerId="ADAL" clId="{330EA053-2BE8-4297-9579-7C0F3D450B40}" dt="2024-08-01T13:56:58.090" v="2853" actId="478"/>
          <ac:grpSpMkLst>
            <pc:docMk/>
            <pc:sldMk cId="2608857074" sldId="2006"/>
            <ac:grpSpMk id="10" creationId="{97AF0D30-8CE7-C7DB-B803-22D4EB66467A}"/>
          </ac:grpSpMkLst>
        </pc:grpChg>
        <pc:picChg chg="del">
          <ac:chgData name="Stefan Vlad Tudor" userId="a1add301-ea1b-4eef-b81e-d7bdb00d5699" providerId="ADAL" clId="{330EA053-2BE8-4297-9579-7C0F3D450B40}" dt="2024-08-01T13:56:58.090" v="2853" actId="478"/>
          <ac:picMkLst>
            <pc:docMk/>
            <pc:sldMk cId="2608857074" sldId="2006"/>
            <ac:picMk id="4" creationId="{3B9116A2-6443-78F2-5414-05698E4D94AF}"/>
          </ac:picMkLst>
        </pc:picChg>
        <pc:picChg chg="del">
          <ac:chgData name="Stefan Vlad Tudor" userId="a1add301-ea1b-4eef-b81e-d7bdb00d5699" providerId="ADAL" clId="{330EA053-2BE8-4297-9579-7C0F3D450B40}" dt="2024-08-01T13:56:58.090" v="2853" actId="478"/>
          <ac:picMkLst>
            <pc:docMk/>
            <pc:sldMk cId="2608857074" sldId="2006"/>
            <ac:picMk id="6" creationId="{367E8F3B-E645-7178-FFE6-C003E591F609}"/>
          </ac:picMkLst>
        </pc:picChg>
        <pc:picChg chg="del">
          <ac:chgData name="Stefan Vlad Tudor" userId="a1add301-ea1b-4eef-b81e-d7bdb00d5699" providerId="ADAL" clId="{330EA053-2BE8-4297-9579-7C0F3D450B40}" dt="2024-08-01T13:56:58.090" v="2853" actId="478"/>
          <ac:picMkLst>
            <pc:docMk/>
            <pc:sldMk cId="2608857074" sldId="2006"/>
            <ac:picMk id="8" creationId="{E9680BB9-73AA-0FDD-49B6-53D43A2258AE}"/>
          </ac:picMkLst>
        </pc:picChg>
        <pc:picChg chg="add mod">
          <ac:chgData name="Stefan Vlad Tudor" userId="a1add301-ea1b-4eef-b81e-d7bdb00d5699" providerId="ADAL" clId="{330EA053-2BE8-4297-9579-7C0F3D450B40}" dt="2024-08-01T14:11:25.921" v="3066" actId="1076"/>
          <ac:picMkLst>
            <pc:docMk/>
            <pc:sldMk cId="2608857074" sldId="2006"/>
            <ac:picMk id="15" creationId="{39134A92-7F31-E635-BB1A-F86F316318DF}"/>
          </ac:picMkLst>
        </pc:picChg>
        <pc:picChg chg="add mod modCrop">
          <ac:chgData name="Stefan Vlad Tudor" userId="a1add301-ea1b-4eef-b81e-d7bdb00d5699" providerId="ADAL" clId="{330EA053-2BE8-4297-9579-7C0F3D450B40}" dt="2024-08-01T14:52:37.888" v="3463" actId="1076"/>
          <ac:picMkLst>
            <pc:docMk/>
            <pc:sldMk cId="2608857074" sldId="2006"/>
            <ac:picMk id="17" creationId="{48519988-E621-FFE2-7CDC-83E68F54EFE6}"/>
          </ac:picMkLst>
        </pc:picChg>
        <pc:picChg chg="add del mod">
          <ac:chgData name="Stefan Vlad Tudor" userId="a1add301-ea1b-4eef-b81e-d7bdb00d5699" providerId="ADAL" clId="{330EA053-2BE8-4297-9579-7C0F3D450B40}" dt="2024-08-01T14:21:49.756" v="3270" actId="478"/>
          <ac:picMkLst>
            <pc:docMk/>
            <pc:sldMk cId="2608857074" sldId="2006"/>
            <ac:picMk id="19" creationId="{E25D5564-E24C-9659-56F4-F3BB42E8F62F}"/>
          </ac:picMkLst>
        </pc:picChg>
      </pc:sldChg>
      <pc:sldChg chg="addSp delSp modSp add del mod">
        <pc:chgData name="Stefan Vlad Tudor" userId="a1add301-ea1b-4eef-b81e-d7bdb00d5699" providerId="ADAL" clId="{330EA053-2BE8-4297-9579-7C0F3D450B40}" dt="2024-08-01T07:43:51.881" v="1626" actId="47"/>
        <pc:sldMkLst>
          <pc:docMk/>
          <pc:sldMk cId="3479534872" sldId="2006"/>
        </pc:sldMkLst>
        <pc:spChg chg="mod">
          <ac:chgData name="Stefan Vlad Tudor" userId="a1add301-ea1b-4eef-b81e-d7bdb00d5699" providerId="ADAL" clId="{330EA053-2BE8-4297-9579-7C0F3D450B40}" dt="2024-07-29T16:11:51.022" v="225" actId="20577"/>
          <ac:spMkLst>
            <pc:docMk/>
            <pc:sldMk cId="3479534872" sldId="2006"/>
            <ac:spMk id="2" creationId="{151BED59-5C11-44C8-83AE-800254DD3337}"/>
          </ac:spMkLst>
        </pc:spChg>
        <pc:spChg chg="add del mod">
          <ac:chgData name="Stefan Vlad Tudor" userId="a1add301-ea1b-4eef-b81e-d7bdb00d5699" providerId="ADAL" clId="{330EA053-2BE8-4297-9579-7C0F3D450B40}" dt="2024-08-01T07:42:15.710" v="1621"/>
          <ac:spMkLst>
            <pc:docMk/>
            <pc:sldMk cId="3479534872" sldId="2006"/>
            <ac:spMk id="3" creationId="{59692E39-69B4-EA70-ADA5-A3101ED637D2}"/>
          </ac:spMkLst>
        </pc:spChg>
        <pc:picChg chg="del">
          <ac:chgData name="Stefan Vlad Tudor" userId="a1add301-ea1b-4eef-b81e-d7bdb00d5699" providerId="ADAL" clId="{330EA053-2BE8-4297-9579-7C0F3D450B40}" dt="2024-07-29T16:12:34.918" v="226" actId="478"/>
          <ac:picMkLst>
            <pc:docMk/>
            <pc:sldMk cId="3479534872" sldId="2006"/>
            <ac:picMk id="103" creationId="{AFEC892D-3BAE-4AE2-A5C7-A5948D25496C}"/>
          </ac:picMkLst>
        </pc:picChg>
      </pc:sldChg>
      <pc:sldChg chg="addSp delSp modSp add del mod">
        <pc:chgData name="Stefan Vlad Tudor" userId="a1add301-ea1b-4eef-b81e-d7bdb00d5699" providerId="ADAL" clId="{330EA053-2BE8-4297-9579-7C0F3D450B40}" dt="2024-08-01T07:42:03.840" v="1618" actId="47"/>
        <pc:sldMkLst>
          <pc:docMk/>
          <pc:sldMk cId="1932119749" sldId="2007"/>
        </pc:sldMkLst>
        <pc:spChg chg="add del mod">
          <ac:chgData name="Stefan Vlad Tudor" userId="a1add301-ea1b-4eef-b81e-d7bdb00d5699" providerId="ADAL" clId="{330EA053-2BE8-4297-9579-7C0F3D450B40}" dt="2024-08-01T07:41:56.346" v="1615"/>
          <ac:spMkLst>
            <pc:docMk/>
            <pc:sldMk cId="1932119749" sldId="2007"/>
            <ac:spMk id="3" creationId="{F13E491F-7EF2-10C6-4F0D-A56D0680FE07}"/>
          </ac:spMkLst>
        </pc:spChg>
      </pc:sldChg>
      <pc:sldChg chg="modSp add del mod">
        <pc:chgData name="Stefan Vlad Tudor" userId="a1add301-ea1b-4eef-b81e-d7bdb00d5699" providerId="ADAL" clId="{330EA053-2BE8-4297-9579-7C0F3D450B40}" dt="2024-08-01T15:14:41.662" v="3952" actId="47"/>
        <pc:sldMkLst>
          <pc:docMk/>
          <pc:sldMk cId="3539888391" sldId="2007"/>
        </pc:sldMkLst>
        <pc:spChg chg="mod">
          <ac:chgData name="Stefan Vlad Tudor" userId="a1add301-ea1b-4eef-b81e-d7bdb00d5699" providerId="ADAL" clId="{330EA053-2BE8-4297-9579-7C0F3D450B40}" dt="2024-08-01T15:12:17.931" v="3928" actId="21"/>
          <ac:spMkLst>
            <pc:docMk/>
            <pc:sldMk cId="3539888391" sldId="2007"/>
            <ac:spMk id="34" creationId="{7DFF7CA2-35B5-CDF5-1140-1498196601F6}"/>
          </ac:spMkLst>
        </pc:spChg>
      </pc:sldChg>
      <pc:sldChg chg="modSp add del mod">
        <pc:chgData name="Stefan Vlad Tudor" userId="a1add301-ea1b-4eef-b81e-d7bdb00d5699" providerId="ADAL" clId="{330EA053-2BE8-4297-9579-7C0F3D450B40}" dt="2024-08-01T13:35:49.601" v="2496" actId="47"/>
        <pc:sldMkLst>
          <pc:docMk/>
          <pc:sldMk cId="32564308" sldId="2008"/>
        </pc:sldMkLst>
        <pc:spChg chg="mod">
          <ac:chgData name="Stefan Vlad Tudor" userId="a1add301-ea1b-4eef-b81e-d7bdb00d5699" providerId="ADAL" clId="{330EA053-2BE8-4297-9579-7C0F3D450B40}" dt="2024-08-01T13:07:29.529" v="2003" actId="6549"/>
          <ac:spMkLst>
            <pc:docMk/>
            <pc:sldMk cId="32564308" sldId="2008"/>
            <ac:spMk id="3" creationId="{044FE549-1985-176E-A2F1-B1AF318955B3}"/>
          </ac:spMkLst>
        </pc:spChg>
      </pc:sldChg>
      <pc:sldChg chg="new del">
        <pc:chgData name="Stefan Vlad Tudor" userId="a1add301-ea1b-4eef-b81e-d7bdb00d5699" providerId="ADAL" clId="{330EA053-2BE8-4297-9579-7C0F3D450B40}" dt="2024-08-01T14:59:53.266" v="3566" actId="680"/>
        <pc:sldMkLst>
          <pc:docMk/>
          <pc:sldMk cId="275974851" sldId="2008"/>
        </pc:sldMkLst>
      </pc:sldChg>
      <pc:sldMasterChg chg="modSldLayout">
        <pc:chgData name="Stefan Vlad Tudor" userId="a1add301-ea1b-4eef-b81e-d7bdb00d5699" providerId="ADAL" clId="{330EA053-2BE8-4297-9579-7C0F3D450B40}" dt="2024-08-01T13:02:53.587" v="1991" actId="1076"/>
        <pc:sldMasterMkLst>
          <pc:docMk/>
          <pc:sldMasterMk cId="2063023442" sldId="2147483660"/>
        </pc:sldMasterMkLst>
        <pc:sldLayoutChg chg="addSp modSp mod">
          <pc:chgData name="Stefan Vlad Tudor" userId="a1add301-ea1b-4eef-b81e-d7bdb00d5699" providerId="ADAL" clId="{330EA053-2BE8-4297-9579-7C0F3D450B40}" dt="2024-08-01T13:02:53.587" v="1991" actId="1076"/>
          <pc:sldLayoutMkLst>
            <pc:docMk/>
            <pc:sldMasterMk cId="2063023442" sldId="2147483660"/>
            <pc:sldLayoutMk cId="3860681509" sldId="2147483662"/>
          </pc:sldLayoutMkLst>
          <pc:spChg chg="add mod">
            <ac:chgData name="Stefan Vlad Tudor" userId="a1add301-ea1b-4eef-b81e-d7bdb00d5699" providerId="ADAL" clId="{330EA053-2BE8-4297-9579-7C0F3D450B40}" dt="2024-08-01T13:02:53.587" v="1991" actId="1076"/>
            <ac:spMkLst>
              <pc:docMk/>
              <pc:sldMasterMk cId="2063023442" sldId="2147483660"/>
              <pc:sldLayoutMk cId="3860681509" sldId="2147483662"/>
              <ac:spMk id="5" creationId="{78FE14AE-80A8-4F1B-C00B-FF4281D03306}"/>
            </ac:spMkLst>
          </pc:spChg>
        </pc:sldLayoutChg>
      </pc:sldMasterChg>
      <pc:sldMasterChg chg="modSldLayout">
        <pc:chgData name="Stefan Vlad Tudor" userId="a1add301-ea1b-4eef-b81e-d7bdb00d5699" providerId="ADAL" clId="{330EA053-2BE8-4297-9579-7C0F3D450B40}" dt="2024-08-01T13:01:23.120" v="1975" actId="1076"/>
        <pc:sldMasterMkLst>
          <pc:docMk/>
          <pc:sldMasterMk cId="1659215269" sldId="2147483668"/>
        </pc:sldMasterMkLst>
        <pc:sldLayoutChg chg="modSp mod">
          <pc:chgData name="Stefan Vlad Tudor" userId="a1add301-ea1b-4eef-b81e-d7bdb00d5699" providerId="ADAL" clId="{330EA053-2BE8-4297-9579-7C0F3D450B40}" dt="2024-08-01T13:01:23.120" v="1975" actId="1076"/>
          <pc:sldLayoutMkLst>
            <pc:docMk/>
            <pc:sldMasterMk cId="1659215269" sldId="2147483668"/>
            <pc:sldLayoutMk cId="1724016722" sldId="2147483675"/>
          </pc:sldLayoutMkLst>
          <pc:spChg chg="mod">
            <ac:chgData name="Stefan Vlad Tudor" userId="a1add301-ea1b-4eef-b81e-d7bdb00d5699" providerId="ADAL" clId="{330EA053-2BE8-4297-9579-7C0F3D450B40}" dt="2024-08-01T13:01:23.120" v="1975" actId="1076"/>
            <ac:spMkLst>
              <pc:docMk/>
              <pc:sldMasterMk cId="1659215269" sldId="2147483668"/>
              <pc:sldLayoutMk cId="1724016722" sldId="2147483675"/>
              <ac:spMk id="14" creationId="{F1217F80-7A88-4755-AF80-E4827CD5BD69}"/>
            </ac:spMkLst>
          </pc:spChg>
        </pc:sldLayoutChg>
      </pc:sldMasterChg>
    </pc:docChg>
  </pc:docChgLst>
  <pc:docChgLst>
    <pc:chgData name="Stefan Vlad Tudor" userId="a1add301-ea1b-4eef-b81e-d7bdb00d5699" providerId="ADAL" clId="{E77BADDB-10AA-4E43-B128-12F30DDFAA78}"/>
    <pc:docChg chg="modSld sldOrd">
      <pc:chgData name="Stefan Vlad Tudor" userId="a1add301-ea1b-4eef-b81e-d7bdb00d5699" providerId="ADAL" clId="{E77BADDB-10AA-4E43-B128-12F30DDFAA78}" dt="2023-10-25T22:51:17.387" v="1"/>
      <pc:docMkLst>
        <pc:docMk/>
      </pc:docMkLst>
      <pc:sldChg chg="ord">
        <pc:chgData name="Stefan Vlad Tudor" userId="a1add301-ea1b-4eef-b81e-d7bdb00d5699" providerId="ADAL" clId="{E77BADDB-10AA-4E43-B128-12F30DDFAA78}" dt="2023-10-25T22:51:17.387" v="1"/>
        <pc:sldMkLst>
          <pc:docMk/>
          <pc:sldMk cId="2366695077" sldId="123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434877-8A5E-4A59-8576-8604F3544772}" type="datetimeFigureOut">
              <a:rPr lang="it-IT" smtClean="0"/>
              <a:t>02/08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2DCEF4-924C-4EB2-AD3C-C0A9D2C824D8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727421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57F52B-88A1-4C64-BDAF-9B9095AD25BF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410392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57F52B-88A1-4C64-BDAF-9B9095AD25BF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47205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ggetto 9" hidden="1">
            <a:extLst>
              <a:ext uri="{FF2B5EF4-FFF2-40B4-BE49-F238E27FC236}">
                <a16:creationId xmlns:a16="http://schemas.microsoft.com/office/drawing/2014/main" id="{CF198E06-A230-4CB0-A99F-877386A6DE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186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10" name="Oggetto 9" hidden="1">
                        <a:extLst>
                          <a:ext uri="{FF2B5EF4-FFF2-40B4-BE49-F238E27FC236}">
                            <a16:creationId xmlns:a16="http://schemas.microsoft.com/office/drawing/2014/main" id="{CF198E06-A230-4CB0-A99F-877386A6DE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>
            <a:extLst>
              <a:ext uri="{FF2B5EF4-FFF2-40B4-BE49-F238E27FC236}">
                <a16:creationId xmlns:a16="http://schemas.microsoft.com/office/drawing/2014/main" id="{AD8AE99C-D997-4DE3-B857-4A6BC59A20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813" b="7813"/>
          <a:stretch/>
        </p:blipFill>
        <p:spPr>
          <a:xfrm>
            <a:off x="-23952" y="0"/>
            <a:ext cx="9191904" cy="5170446"/>
          </a:xfrm>
          <a:prstGeom prst="rect">
            <a:avLst/>
          </a:prstGeom>
        </p:spPr>
      </p:pic>
      <p:sp>
        <p:nvSpPr>
          <p:cNvPr id="22" name="Rettangolo 21">
            <a:extLst>
              <a:ext uri="{FF2B5EF4-FFF2-40B4-BE49-F238E27FC236}">
                <a16:creationId xmlns:a16="http://schemas.microsoft.com/office/drawing/2014/main" id="{2DCEE168-75CB-48B8-BE95-39607DBD41FD}"/>
              </a:ext>
            </a:extLst>
          </p:cNvPr>
          <p:cNvSpPr/>
          <p:nvPr userDrawn="1"/>
        </p:nvSpPr>
        <p:spPr>
          <a:xfrm>
            <a:off x="-23952" y="0"/>
            <a:ext cx="9191904" cy="5170446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3080852"/>
            <a:ext cx="6858000" cy="997196"/>
          </a:xfrm>
          <a:prstGeom prst="rect">
            <a:avLst/>
          </a:prstGeom>
        </p:spPr>
        <p:txBody>
          <a:bodyPr vert="horz" lIns="0" tIns="0" rIns="0" bIns="0" anchor="b">
            <a:spAutoFit/>
          </a:bodyPr>
          <a:lstStyle>
            <a:lvl1pPr algn="ctr">
              <a:defRPr sz="3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4197904"/>
            <a:ext cx="68580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  <p:pic>
        <p:nvPicPr>
          <p:cNvPr id="8" name="Elemento grafico 7">
            <a:extLst>
              <a:ext uri="{FF2B5EF4-FFF2-40B4-BE49-F238E27FC236}">
                <a16:creationId xmlns:a16="http://schemas.microsoft.com/office/drawing/2014/main" id="{ED63DFE3-AB2F-4C2A-BF13-29E805DFDF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81660" y="292557"/>
            <a:ext cx="2180680" cy="1469589"/>
          </a:xfrm>
          <a:prstGeom prst="rect">
            <a:avLst/>
          </a:prstGeom>
        </p:spPr>
      </p:pic>
      <p:sp>
        <p:nvSpPr>
          <p:cNvPr id="17" name="Rectangle 46">
            <a:extLst>
              <a:ext uri="{FF2B5EF4-FFF2-40B4-BE49-F238E27FC236}">
                <a16:creationId xmlns:a16="http://schemas.microsoft.com/office/drawing/2014/main" id="{7F264FA5-EDFD-43A6-A375-DF380A1DD100}"/>
              </a:ext>
            </a:extLst>
          </p:cNvPr>
          <p:cNvSpPr/>
          <p:nvPr userDrawn="1"/>
        </p:nvSpPr>
        <p:spPr>
          <a:xfrm>
            <a:off x="857250" y="1878747"/>
            <a:ext cx="74295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GROUND SEGMENT AS A SERVICE</a:t>
            </a:r>
          </a:p>
        </p:txBody>
      </p:sp>
    </p:spTree>
    <p:extLst>
      <p:ext uri="{BB962C8B-B14F-4D97-AF65-F5344CB8AC3E}">
        <p14:creationId xmlns:p14="http://schemas.microsoft.com/office/powerpoint/2010/main" val="9861593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DBB23DC8-637C-4F8D-B36D-A769CF63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891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DBB23DC8-637C-4F8D-B36D-A769CF63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847" y="478067"/>
            <a:ext cx="7886700" cy="286104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>
              <a:lnSpc>
                <a:spcPts val="2200"/>
              </a:lnSpc>
              <a:defRPr sz="2200" b="1">
                <a:solidFill>
                  <a:srgbClr val="164772"/>
                </a:solidFill>
                <a:latin typeface="+mn-lt"/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7B765FD8-9645-42BC-8440-8B58F5650ED1}"/>
              </a:ext>
            </a:extLst>
          </p:cNvPr>
          <p:cNvSpPr/>
          <p:nvPr userDrawn="1"/>
        </p:nvSpPr>
        <p:spPr>
          <a:xfrm>
            <a:off x="0" y="4892040"/>
            <a:ext cx="9144000" cy="271316"/>
          </a:xfrm>
          <a:prstGeom prst="rect">
            <a:avLst/>
          </a:prstGeom>
          <a:solidFill>
            <a:srgbClr val="164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151">
              <a:solidFill>
                <a:srgbClr val="004776"/>
              </a:solidFill>
            </a:endParaRP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CF5ADD90-1B16-4625-BEE7-B11E1A406A36}"/>
              </a:ext>
            </a:extLst>
          </p:cNvPr>
          <p:cNvSpPr txBox="1"/>
          <p:nvPr userDrawn="1"/>
        </p:nvSpPr>
        <p:spPr>
          <a:xfrm>
            <a:off x="185159" y="4958448"/>
            <a:ext cx="160847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Nexa Bold" panose="02000000000000000000" pitchFamily="2" charset="77"/>
              </a:defRPr>
            </a:lvl1pPr>
          </a:lstStyle>
          <a:p>
            <a:pPr algn="l"/>
            <a:r>
              <a:rPr lang="it-IT" sz="900">
                <a:latin typeface="+mj-lt"/>
                <a:cs typeface="Calibri" panose="020F0502020204030204" pitchFamily="34" charset="0"/>
              </a:rPr>
              <a:t>GROUND SEGMENT AS A SERVICE</a:t>
            </a:r>
          </a:p>
        </p:txBody>
      </p:sp>
      <p:pic>
        <p:nvPicPr>
          <p:cNvPr id="13" name="Immagine 16">
            <a:extLst>
              <a:ext uri="{FF2B5EF4-FFF2-40B4-BE49-F238E27FC236}">
                <a16:creationId xmlns:a16="http://schemas.microsoft.com/office/drawing/2014/main" id="{8E6A2EA2-3A25-4EBF-82A3-90A7878885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71864" y="217453"/>
            <a:ext cx="412289" cy="412289"/>
          </a:xfrm>
          <a:prstGeom prst="rect">
            <a:avLst/>
          </a:prstGeom>
        </p:spPr>
      </p:pic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91CE04EA-3E17-4E8F-A66B-E1B0E6BE2991}"/>
              </a:ext>
            </a:extLst>
          </p:cNvPr>
          <p:cNvCxnSpPr>
            <a:cxnSpLocks/>
          </p:cNvCxnSpPr>
          <p:nvPr userDrawn="1"/>
        </p:nvCxnSpPr>
        <p:spPr>
          <a:xfrm>
            <a:off x="185159" y="830580"/>
            <a:ext cx="1925581" cy="0"/>
          </a:xfrm>
          <a:prstGeom prst="line">
            <a:avLst/>
          </a:prstGeom>
          <a:ln w="28575">
            <a:solidFill>
              <a:srgbClr val="B8D7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06682D0E-3165-47C9-9864-057C015AD5D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58741" y="4947912"/>
            <a:ext cx="22244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defRPr/>
            </a:pPr>
            <a:fld id="{548B21F0-7AE4-4450-A515-CBB00966979F}" type="slidenum">
              <a:rPr lang="en-US" sz="1400" baseline="300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en-US" sz="14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73FB02E6-6C45-418D-8E6E-3F9062E035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1999" y="1082040"/>
            <a:ext cx="4386317" cy="3601988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921435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DBB23DC8-637C-4F8D-B36D-A769CF63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2483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DBB23DC8-637C-4F8D-B36D-A769CF63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4AFF6610-C6C0-48DF-99FA-59ABE3673A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1663" y="1085850"/>
            <a:ext cx="2230437" cy="1244600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20" name="Segnaposto immagine 4">
            <a:extLst>
              <a:ext uri="{FF2B5EF4-FFF2-40B4-BE49-F238E27FC236}">
                <a16:creationId xmlns:a16="http://schemas.microsoft.com/office/drawing/2014/main" id="{C9FCC744-3908-46B6-8244-F2BE218A2B3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942924" y="1085850"/>
            <a:ext cx="3229276" cy="1244600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21" name="Segnaposto immagine 4">
            <a:extLst>
              <a:ext uri="{FF2B5EF4-FFF2-40B4-BE49-F238E27FC236}">
                <a16:creationId xmlns:a16="http://schemas.microsoft.com/office/drawing/2014/main" id="{65FB6AFA-8C46-438B-B0B1-F92D5D201A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79166" y="1085850"/>
            <a:ext cx="2115533" cy="1244600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22" name="Segnaposto immagine 4">
            <a:extLst>
              <a:ext uri="{FF2B5EF4-FFF2-40B4-BE49-F238E27FC236}">
                <a16:creationId xmlns:a16="http://schemas.microsoft.com/office/drawing/2014/main" id="{B493407B-0E72-4B4C-892A-7630166FB2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1663" y="2396203"/>
            <a:ext cx="2941033" cy="1244600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23" name="Segnaposto immagine 4">
            <a:extLst>
              <a:ext uri="{FF2B5EF4-FFF2-40B4-BE49-F238E27FC236}">
                <a16:creationId xmlns:a16="http://schemas.microsoft.com/office/drawing/2014/main" id="{2D196EE1-3839-4353-923F-DDC1229F6F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31301" y="2396203"/>
            <a:ext cx="2153576" cy="1244600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24" name="Segnaposto immagine 4">
            <a:extLst>
              <a:ext uri="{FF2B5EF4-FFF2-40B4-BE49-F238E27FC236}">
                <a16:creationId xmlns:a16="http://schemas.microsoft.com/office/drawing/2014/main" id="{AC915475-21B2-488B-8BC0-5C1D3089925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872878" y="2396203"/>
            <a:ext cx="2521218" cy="1244600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847" y="478067"/>
            <a:ext cx="7886700" cy="286104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>
              <a:lnSpc>
                <a:spcPts val="2200"/>
              </a:lnSpc>
              <a:defRPr sz="2200" b="1">
                <a:solidFill>
                  <a:srgbClr val="164772"/>
                </a:solidFill>
                <a:latin typeface="+mn-lt"/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7B765FD8-9645-42BC-8440-8B58F5650ED1}"/>
              </a:ext>
            </a:extLst>
          </p:cNvPr>
          <p:cNvSpPr/>
          <p:nvPr userDrawn="1"/>
        </p:nvSpPr>
        <p:spPr>
          <a:xfrm>
            <a:off x="0" y="4892040"/>
            <a:ext cx="9144000" cy="271316"/>
          </a:xfrm>
          <a:prstGeom prst="rect">
            <a:avLst/>
          </a:prstGeom>
          <a:solidFill>
            <a:srgbClr val="164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151">
              <a:solidFill>
                <a:srgbClr val="004776"/>
              </a:solidFill>
            </a:endParaRP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CF5ADD90-1B16-4625-BEE7-B11E1A406A36}"/>
              </a:ext>
            </a:extLst>
          </p:cNvPr>
          <p:cNvSpPr txBox="1"/>
          <p:nvPr userDrawn="1"/>
        </p:nvSpPr>
        <p:spPr>
          <a:xfrm>
            <a:off x="185159" y="4958448"/>
            <a:ext cx="160847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Nexa Bold" panose="02000000000000000000" pitchFamily="2" charset="77"/>
              </a:defRPr>
            </a:lvl1pPr>
          </a:lstStyle>
          <a:p>
            <a:pPr algn="l"/>
            <a:r>
              <a:rPr lang="it-IT" sz="900">
                <a:latin typeface="+mj-lt"/>
                <a:cs typeface="Calibri" panose="020F0502020204030204" pitchFamily="34" charset="0"/>
              </a:rPr>
              <a:t>GROUND SEGMENT AS A SERVICE</a:t>
            </a:r>
          </a:p>
        </p:txBody>
      </p:sp>
      <p:pic>
        <p:nvPicPr>
          <p:cNvPr id="13" name="Immagine 16">
            <a:extLst>
              <a:ext uri="{FF2B5EF4-FFF2-40B4-BE49-F238E27FC236}">
                <a16:creationId xmlns:a16="http://schemas.microsoft.com/office/drawing/2014/main" id="{8E6A2EA2-3A25-4EBF-82A3-90A7878885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71864" y="217453"/>
            <a:ext cx="412289" cy="412289"/>
          </a:xfrm>
          <a:prstGeom prst="rect">
            <a:avLst/>
          </a:prstGeom>
        </p:spPr>
      </p:pic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91CE04EA-3E17-4E8F-A66B-E1B0E6BE2991}"/>
              </a:ext>
            </a:extLst>
          </p:cNvPr>
          <p:cNvCxnSpPr>
            <a:cxnSpLocks/>
          </p:cNvCxnSpPr>
          <p:nvPr userDrawn="1"/>
        </p:nvCxnSpPr>
        <p:spPr>
          <a:xfrm>
            <a:off x="185159" y="830580"/>
            <a:ext cx="1925581" cy="0"/>
          </a:xfrm>
          <a:prstGeom prst="line">
            <a:avLst/>
          </a:prstGeom>
          <a:ln w="28575">
            <a:solidFill>
              <a:srgbClr val="B8D7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06682D0E-3165-47C9-9864-057C015AD5D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5881" y="4947912"/>
            <a:ext cx="22244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defRPr/>
            </a:pPr>
            <a:fld id="{548B21F0-7AE4-4450-A515-CBB00966979F}" type="slidenum">
              <a:rPr lang="en-US" sz="1400" baseline="300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en-US" sz="14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8083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DBB23DC8-637C-4F8D-B36D-A769CF63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801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DBB23DC8-637C-4F8D-B36D-A769CF63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o 2">
            <a:extLst>
              <a:ext uri="{FF2B5EF4-FFF2-40B4-BE49-F238E27FC236}">
                <a16:creationId xmlns:a16="http://schemas.microsoft.com/office/drawing/2014/main" id="{63DCF9B1-6410-4D5A-9C5B-0ACA44504E46}"/>
              </a:ext>
            </a:extLst>
          </p:cNvPr>
          <p:cNvGrpSpPr/>
          <p:nvPr userDrawn="1"/>
        </p:nvGrpSpPr>
        <p:grpSpPr>
          <a:xfrm>
            <a:off x="660400" y="2741050"/>
            <a:ext cx="7048500" cy="84700"/>
            <a:chOff x="660400" y="2686050"/>
            <a:chExt cx="7048500" cy="84700"/>
          </a:xfrm>
        </p:grpSpPr>
        <p:cxnSp>
          <p:nvCxnSpPr>
            <p:cNvPr id="4" name="Connettore diritto 3">
              <a:extLst>
                <a:ext uri="{FF2B5EF4-FFF2-40B4-BE49-F238E27FC236}">
                  <a16:creationId xmlns:a16="http://schemas.microsoft.com/office/drawing/2014/main" id="{CC898DDA-8C93-491F-AA18-B91429E8DEF6}"/>
                </a:ext>
              </a:extLst>
            </p:cNvPr>
            <p:cNvCxnSpPr>
              <a:cxnSpLocks/>
            </p:cNvCxnSpPr>
            <p:nvPr/>
          </p:nvCxnSpPr>
          <p:spPr>
            <a:xfrm>
              <a:off x="660400" y="2686050"/>
              <a:ext cx="7048500" cy="0"/>
            </a:xfrm>
            <a:prstGeom prst="line">
              <a:avLst/>
            </a:prstGeom>
            <a:ln w="12700">
              <a:solidFill>
                <a:srgbClr val="B8D7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ttangolo 4">
              <a:extLst>
                <a:ext uri="{FF2B5EF4-FFF2-40B4-BE49-F238E27FC236}">
                  <a16:creationId xmlns:a16="http://schemas.microsoft.com/office/drawing/2014/main" id="{EF07BCFE-3444-4BE8-B9E1-B637386C6125}"/>
                </a:ext>
              </a:extLst>
            </p:cNvPr>
            <p:cNvSpPr/>
            <p:nvPr/>
          </p:nvSpPr>
          <p:spPr>
            <a:xfrm>
              <a:off x="660400" y="2698750"/>
              <a:ext cx="1260000" cy="72000"/>
            </a:xfrm>
            <a:prstGeom prst="rect">
              <a:avLst/>
            </a:prstGeom>
            <a:solidFill>
              <a:srgbClr val="B8D744"/>
            </a:solidFill>
            <a:ln>
              <a:solidFill>
                <a:srgbClr val="B8D74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A2C2C4AA-2277-4BEB-81E1-01C896B15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2389538"/>
            <a:ext cx="7048500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284268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DBB23DC8-637C-4F8D-B36D-A769CF63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626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DBB23DC8-637C-4F8D-B36D-A769CF63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519642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USUR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DBB23DC8-637C-4F8D-B36D-A769CF63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742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DBB23DC8-637C-4F8D-B36D-A769CF63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>
            <a:extLst>
              <a:ext uri="{FF2B5EF4-FFF2-40B4-BE49-F238E27FC236}">
                <a16:creationId xmlns:a16="http://schemas.microsoft.com/office/drawing/2014/main" id="{00EB3310-9E5C-468E-88F7-89BA07C13E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813" b="7813"/>
          <a:stretch/>
        </p:blipFill>
        <p:spPr>
          <a:xfrm>
            <a:off x="-23952" y="0"/>
            <a:ext cx="9191904" cy="5170446"/>
          </a:xfrm>
          <a:prstGeom prst="rect">
            <a:avLst/>
          </a:prstGeom>
        </p:spPr>
      </p:pic>
      <p:sp>
        <p:nvSpPr>
          <p:cNvPr id="11" name="Rettangolo 10">
            <a:extLst>
              <a:ext uri="{FF2B5EF4-FFF2-40B4-BE49-F238E27FC236}">
                <a16:creationId xmlns:a16="http://schemas.microsoft.com/office/drawing/2014/main" id="{E28BD308-D618-456F-9588-80E11C0DE13E}"/>
              </a:ext>
            </a:extLst>
          </p:cNvPr>
          <p:cNvSpPr/>
          <p:nvPr userDrawn="1"/>
        </p:nvSpPr>
        <p:spPr>
          <a:xfrm>
            <a:off x="-23952" y="0"/>
            <a:ext cx="9191904" cy="5170446"/>
          </a:xfrm>
          <a:prstGeom prst="rect">
            <a:avLst/>
          </a:prstGeom>
          <a:solidFill>
            <a:schemeClr val="tx1"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CasellaDiTesto 31">
            <a:extLst>
              <a:ext uri="{FF2B5EF4-FFF2-40B4-BE49-F238E27FC236}">
                <a16:creationId xmlns:a16="http://schemas.microsoft.com/office/drawing/2014/main" id="{BE3AFC88-87B2-4054-BFED-53DCAE106422}"/>
              </a:ext>
            </a:extLst>
          </p:cNvPr>
          <p:cNvSpPr txBox="1"/>
          <p:nvPr userDrawn="1"/>
        </p:nvSpPr>
        <p:spPr>
          <a:xfrm>
            <a:off x="982213" y="3947343"/>
            <a:ext cx="1694149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14000"/>
              </a:lnSpc>
              <a:defRPr sz="1100" b="1" spc="300">
                <a:solidFill>
                  <a:schemeClr val="bg1"/>
                </a:solidFill>
                <a:latin typeface="Aileron Bold" panose="00000500000000000000" pitchFamily="50" charset="0"/>
              </a:defRPr>
            </a:lvl1pPr>
          </a:lstStyle>
          <a:p>
            <a:pPr algn="l">
              <a:lnSpc>
                <a:spcPts val="1311"/>
              </a:lnSpc>
            </a:pPr>
            <a:r>
              <a:rPr lang="en-GB" spc="0" noProof="0" dirty="0">
                <a:latin typeface="+mn-lt"/>
                <a:cs typeface="Calibri" panose="020F0502020204030204" pitchFamily="34" charset="0"/>
              </a:rPr>
              <a:t>Leaf</a:t>
            </a:r>
            <a:r>
              <a:rPr lang="it-IT" spc="0" dirty="0">
                <a:latin typeface="+mn-lt"/>
                <a:cs typeface="Calibri" panose="020F0502020204030204" pitchFamily="34" charset="0"/>
              </a:rPr>
              <a:t> Space </a:t>
            </a:r>
            <a:r>
              <a:rPr lang="it-IT" spc="0" dirty="0" err="1">
                <a:latin typeface="+mn-lt"/>
                <a:cs typeface="Calibri" panose="020F0502020204030204" pitchFamily="34" charset="0"/>
              </a:rPr>
              <a:t>coordinates</a:t>
            </a:r>
            <a:endParaRPr lang="it-IT" spc="0" dirty="0">
              <a:latin typeface="+mn-lt"/>
              <a:cs typeface="Calibri" panose="020F0502020204030204" pitchFamily="34" charset="0"/>
            </a:endParaRPr>
          </a:p>
          <a:p>
            <a:pPr algn="l">
              <a:lnSpc>
                <a:spcPts val="1311"/>
              </a:lnSpc>
            </a:pPr>
            <a:r>
              <a:rPr lang="it-IT" b="0" spc="0" dirty="0" err="1">
                <a:latin typeface="+mn-lt"/>
                <a:cs typeface="Calibri" panose="020F0502020204030204" pitchFamily="34" charset="0"/>
              </a:rPr>
              <a:t>info@leaf.space</a:t>
            </a:r>
            <a:endParaRPr lang="it-IT" b="0" spc="0" dirty="0">
              <a:latin typeface="+mn-lt"/>
              <a:cs typeface="Calibri" panose="020F0502020204030204" pitchFamily="34" charset="0"/>
            </a:endParaRPr>
          </a:p>
          <a:p>
            <a:pPr algn="l">
              <a:lnSpc>
                <a:spcPts val="1311"/>
              </a:lnSpc>
            </a:pPr>
            <a:r>
              <a:rPr lang="it-IT" b="0" spc="0" dirty="0">
                <a:latin typeface="+mn-lt"/>
                <a:cs typeface="Calibri" panose="020F0502020204030204" pitchFamily="34" charset="0"/>
              </a:rPr>
              <a:t>info@leafspace.us</a:t>
            </a:r>
          </a:p>
          <a:p>
            <a:pPr algn="l">
              <a:lnSpc>
                <a:spcPts val="1311"/>
              </a:lnSpc>
            </a:pPr>
            <a:r>
              <a:rPr lang="it-IT" spc="0" dirty="0">
                <a:latin typeface="+mn-lt"/>
                <a:cs typeface="Calibri" panose="020F0502020204030204" pitchFamily="34" charset="0"/>
              </a:rPr>
              <a:t>www.leaf.space</a:t>
            </a:r>
          </a:p>
        </p:txBody>
      </p:sp>
      <p:sp>
        <p:nvSpPr>
          <p:cNvPr id="10" name="CasellaDiTesto 31">
            <a:extLst>
              <a:ext uri="{FF2B5EF4-FFF2-40B4-BE49-F238E27FC236}">
                <a16:creationId xmlns:a16="http://schemas.microsoft.com/office/drawing/2014/main" id="{C1DEEC68-9E35-42BE-BB0F-3C3E6CC60BFF}"/>
              </a:ext>
            </a:extLst>
          </p:cNvPr>
          <p:cNvSpPr txBox="1"/>
          <p:nvPr userDrawn="1"/>
        </p:nvSpPr>
        <p:spPr>
          <a:xfrm>
            <a:off x="3463670" y="3947343"/>
            <a:ext cx="1916957" cy="592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14000"/>
              </a:lnSpc>
              <a:defRPr sz="1100" b="1" spc="300">
                <a:solidFill>
                  <a:schemeClr val="bg1"/>
                </a:solidFill>
                <a:latin typeface="Aileron Bold" panose="00000500000000000000" pitchFamily="50" charset="0"/>
              </a:defRPr>
            </a:lvl1pPr>
          </a:lstStyle>
          <a:p>
            <a:pPr algn="l">
              <a:lnSpc>
                <a:spcPts val="1265"/>
              </a:lnSpc>
            </a:pPr>
            <a:r>
              <a:rPr lang="it-IT" spc="0" dirty="0">
                <a:latin typeface="+mn-lt"/>
                <a:cs typeface="Calibri" panose="020F0502020204030204" pitchFamily="34" charset="0"/>
              </a:rPr>
              <a:t>Headquarters</a:t>
            </a:r>
          </a:p>
          <a:p>
            <a:pPr algn="l">
              <a:lnSpc>
                <a:spcPts val="1265"/>
              </a:lnSpc>
            </a:pPr>
            <a:r>
              <a:rPr lang="it-IT" b="0" spc="0" dirty="0">
                <a:latin typeface="+mn-lt"/>
              </a:rPr>
              <a:t>Via Cavour, 2</a:t>
            </a:r>
          </a:p>
          <a:p>
            <a:pPr algn="l">
              <a:lnSpc>
                <a:spcPts val="1265"/>
              </a:lnSpc>
            </a:pPr>
            <a:r>
              <a:rPr lang="it-IT" b="0" spc="0" dirty="0">
                <a:latin typeface="+mn-lt"/>
              </a:rPr>
              <a:t>22074 - Lomazzo (CO) - </a:t>
            </a:r>
            <a:r>
              <a:rPr lang="it-IT" b="0" spc="0" dirty="0" err="1">
                <a:latin typeface="+mn-lt"/>
              </a:rPr>
              <a:t>Italy</a:t>
            </a:r>
            <a:endParaRPr lang="it-IT" b="0" spc="0" dirty="0">
              <a:latin typeface="+mn-lt"/>
            </a:endParaRPr>
          </a:p>
        </p:txBody>
      </p:sp>
      <p:sp>
        <p:nvSpPr>
          <p:cNvPr id="14" name="CasellaDiTesto 31">
            <a:extLst>
              <a:ext uri="{FF2B5EF4-FFF2-40B4-BE49-F238E27FC236}">
                <a16:creationId xmlns:a16="http://schemas.microsoft.com/office/drawing/2014/main" id="{F1217F80-7A88-4755-AF80-E4827CD5BD69}"/>
              </a:ext>
            </a:extLst>
          </p:cNvPr>
          <p:cNvSpPr txBox="1"/>
          <p:nvPr userDrawn="1"/>
        </p:nvSpPr>
        <p:spPr>
          <a:xfrm>
            <a:off x="6387074" y="3947343"/>
            <a:ext cx="1774713" cy="592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14000"/>
              </a:lnSpc>
              <a:defRPr sz="1100" b="1" spc="300">
                <a:solidFill>
                  <a:schemeClr val="bg1"/>
                </a:solidFill>
                <a:latin typeface="Aileron Bold" panose="00000500000000000000" pitchFamily="50" charset="0"/>
              </a:defRPr>
            </a:lvl1pPr>
          </a:lstStyle>
          <a:p>
            <a:pPr algn="l">
              <a:lnSpc>
                <a:spcPts val="1265"/>
              </a:lnSpc>
            </a:pPr>
            <a:r>
              <a:rPr lang="it-IT" spc="0" dirty="0" err="1">
                <a:latin typeface="+mn-lt"/>
                <a:cs typeface="Calibri" panose="020F0502020204030204" pitchFamily="34" charset="0"/>
              </a:rPr>
              <a:t>Leaf</a:t>
            </a:r>
            <a:r>
              <a:rPr lang="it-IT" spc="0" dirty="0">
                <a:latin typeface="+mn-lt"/>
                <a:cs typeface="Calibri" panose="020F0502020204030204" pitchFamily="34" charset="0"/>
              </a:rPr>
              <a:t> Space LLC</a:t>
            </a:r>
          </a:p>
          <a:p>
            <a:pPr algn="l">
              <a:lnSpc>
                <a:spcPts val="1265"/>
              </a:lnSpc>
            </a:pPr>
            <a:r>
              <a:rPr lang="it-IT" b="0" spc="0" dirty="0">
                <a:latin typeface="+mn-lt"/>
              </a:rPr>
              <a:t>16192 </a:t>
            </a:r>
            <a:r>
              <a:rPr lang="it-IT" b="0" spc="0" dirty="0" err="1">
                <a:latin typeface="+mn-lt"/>
              </a:rPr>
              <a:t>Coastal</a:t>
            </a:r>
            <a:r>
              <a:rPr lang="it-IT" b="0" spc="0" dirty="0">
                <a:latin typeface="+mn-lt"/>
              </a:rPr>
              <a:t> </a:t>
            </a:r>
            <a:r>
              <a:rPr lang="it-IT" b="0" spc="0" dirty="0" err="1">
                <a:latin typeface="+mn-lt"/>
              </a:rPr>
              <a:t>Hwy</a:t>
            </a:r>
            <a:endParaRPr lang="it-IT" b="0" spc="0" dirty="0">
              <a:latin typeface="+mn-lt"/>
            </a:endParaRPr>
          </a:p>
          <a:p>
            <a:pPr algn="l">
              <a:lnSpc>
                <a:spcPts val="1265"/>
              </a:lnSpc>
            </a:pPr>
            <a:r>
              <a:rPr lang="it-IT" b="0" spc="0" dirty="0">
                <a:latin typeface="+mn-lt"/>
              </a:rPr>
              <a:t>Lewes, DE 19958 - USA</a:t>
            </a:r>
          </a:p>
        </p:txBody>
      </p:sp>
      <p:pic>
        <p:nvPicPr>
          <p:cNvPr id="17" name="Elemento grafico 16">
            <a:extLst>
              <a:ext uri="{FF2B5EF4-FFF2-40B4-BE49-F238E27FC236}">
                <a16:creationId xmlns:a16="http://schemas.microsoft.com/office/drawing/2014/main" id="{2818A82D-15E0-4F19-AB87-25204456BF8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81660" y="603687"/>
            <a:ext cx="2180680" cy="1469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0167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DBB23DC8-637C-4F8D-B36D-A769CF63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1050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DBB23DC8-637C-4F8D-B36D-A769CF63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847" y="478067"/>
            <a:ext cx="7886700" cy="286104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>
              <a:lnSpc>
                <a:spcPts val="2200"/>
              </a:lnSpc>
              <a:defRPr sz="2200" b="1">
                <a:solidFill>
                  <a:srgbClr val="164772"/>
                </a:solidFill>
                <a:latin typeface="+mn-lt"/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9395" y="1730646"/>
            <a:ext cx="697611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/>
            </a:lvl1pPr>
            <a:lvl2pPr marL="358775" indent="-1762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400"/>
            </a:lvl2pPr>
            <a:lvl3pPr marL="541338" indent="-182563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."/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7B765FD8-9645-42BC-8440-8B58F5650ED1}"/>
              </a:ext>
            </a:extLst>
          </p:cNvPr>
          <p:cNvSpPr/>
          <p:nvPr userDrawn="1"/>
        </p:nvSpPr>
        <p:spPr>
          <a:xfrm>
            <a:off x="0" y="4892040"/>
            <a:ext cx="9144000" cy="271316"/>
          </a:xfrm>
          <a:prstGeom prst="rect">
            <a:avLst/>
          </a:prstGeom>
          <a:solidFill>
            <a:srgbClr val="164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151" dirty="0">
              <a:solidFill>
                <a:srgbClr val="004776"/>
              </a:solidFill>
            </a:endParaRP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CF5ADD90-1B16-4625-BEE7-B11E1A406A36}"/>
              </a:ext>
            </a:extLst>
          </p:cNvPr>
          <p:cNvSpPr txBox="1"/>
          <p:nvPr userDrawn="1"/>
        </p:nvSpPr>
        <p:spPr>
          <a:xfrm>
            <a:off x="185159" y="4958448"/>
            <a:ext cx="160847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Nexa Bold" panose="02000000000000000000" pitchFamily="2" charset="77"/>
              </a:defRPr>
            </a:lvl1pPr>
          </a:lstStyle>
          <a:p>
            <a:pPr algn="l"/>
            <a:r>
              <a:rPr lang="it-IT" sz="900" dirty="0">
                <a:latin typeface="+mj-lt"/>
                <a:cs typeface="Calibri" panose="020F0502020204030204" pitchFamily="34" charset="0"/>
              </a:rPr>
              <a:t>GROUND SEGMENT AS A SERVICE</a:t>
            </a:r>
          </a:p>
        </p:txBody>
      </p:sp>
      <p:pic>
        <p:nvPicPr>
          <p:cNvPr id="13" name="Immagine 16">
            <a:extLst>
              <a:ext uri="{FF2B5EF4-FFF2-40B4-BE49-F238E27FC236}">
                <a16:creationId xmlns:a16="http://schemas.microsoft.com/office/drawing/2014/main" id="{8E6A2EA2-3A25-4EBF-82A3-90A7878885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71864" y="217453"/>
            <a:ext cx="412289" cy="412289"/>
          </a:xfrm>
          <a:prstGeom prst="rect">
            <a:avLst/>
          </a:prstGeom>
        </p:spPr>
      </p:pic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91CE04EA-3E17-4E8F-A66B-E1B0E6BE2991}"/>
              </a:ext>
            </a:extLst>
          </p:cNvPr>
          <p:cNvCxnSpPr>
            <a:cxnSpLocks/>
          </p:cNvCxnSpPr>
          <p:nvPr userDrawn="1"/>
        </p:nvCxnSpPr>
        <p:spPr>
          <a:xfrm>
            <a:off x="185159" y="830580"/>
            <a:ext cx="1925581" cy="0"/>
          </a:xfrm>
          <a:prstGeom prst="line">
            <a:avLst/>
          </a:prstGeom>
          <a:ln w="28575">
            <a:solidFill>
              <a:srgbClr val="B8D7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06682D0E-3165-47C9-9864-057C015AD5D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5881" y="4947912"/>
            <a:ext cx="22244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defRPr/>
            </a:pPr>
            <a:fld id="{548B21F0-7AE4-4450-A515-CBB00966979F}" type="slidenum">
              <a:rPr lang="en-US" sz="1400" baseline="300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en-US" sz="14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8FE14AE-80A8-4F1B-C00B-FF4281D03306}"/>
              </a:ext>
            </a:extLst>
          </p:cNvPr>
          <p:cNvSpPr txBox="1"/>
          <p:nvPr userDrawn="1"/>
        </p:nvSpPr>
        <p:spPr>
          <a:xfrm>
            <a:off x="0" y="4910504"/>
            <a:ext cx="9144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 b="0" i="0" u="none" strike="noStrike" baseline="0" dirty="0">
                <a:solidFill>
                  <a:schemeClr val="bg2">
                    <a:lumMod val="95000"/>
                  </a:schemeClr>
                </a:solidFill>
                <a:latin typeface="+mj-lt"/>
              </a:rPr>
              <a:t>38th Annual Small Satellite Conference | Logan, UT, USA, 8 August 2024</a:t>
            </a:r>
            <a:endParaRPr lang="it-IT" sz="900" i="1" dirty="0">
              <a:solidFill>
                <a:schemeClr val="bg2">
                  <a:lumMod val="9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60681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DBB23DC8-637C-4F8D-B36D-A769CF63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049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DBB23DC8-637C-4F8D-B36D-A769CF63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847" y="478067"/>
            <a:ext cx="7886700" cy="286104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>
              <a:lnSpc>
                <a:spcPts val="2200"/>
              </a:lnSpc>
              <a:defRPr sz="2200" b="1">
                <a:solidFill>
                  <a:srgbClr val="164772"/>
                </a:solidFill>
                <a:latin typeface="+mn-lt"/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7B765FD8-9645-42BC-8440-8B58F5650ED1}"/>
              </a:ext>
            </a:extLst>
          </p:cNvPr>
          <p:cNvSpPr/>
          <p:nvPr userDrawn="1"/>
        </p:nvSpPr>
        <p:spPr>
          <a:xfrm>
            <a:off x="0" y="4892040"/>
            <a:ext cx="9144000" cy="271316"/>
          </a:xfrm>
          <a:prstGeom prst="rect">
            <a:avLst/>
          </a:prstGeom>
          <a:solidFill>
            <a:srgbClr val="164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151" dirty="0">
              <a:solidFill>
                <a:srgbClr val="004776"/>
              </a:solidFill>
            </a:endParaRP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CF5ADD90-1B16-4625-BEE7-B11E1A406A36}"/>
              </a:ext>
            </a:extLst>
          </p:cNvPr>
          <p:cNvSpPr txBox="1"/>
          <p:nvPr userDrawn="1"/>
        </p:nvSpPr>
        <p:spPr>
          <a:xfrm>
            <a:off x="185159" y="4958448"/>
            <a:ext cx="160847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Nexa Bold" panose="02000000000000000000" pitchFamily="2" charset="77"/>
              </a:defRPr>
            </a:lvl1pPr>
          </a:lstStyle>
          <a:p>
            <a:pPr algn="l"/>
            <a:r>
              <a:rPr lang="it-IT" sz="900" dirty="0">
                <a:latin typeface="+mj-lt"/>
                <a:cs typeface="Calibri" panose="020F0502020204030204" pitchFamily="34" charset="0"/>
              </a:rPr>
              <a:t>GROUND SEGMENT AS A SERVICE</a:t>
            </a:r>
          </a:p>
        </p:txBody>
      </p:sp>
      <p:pic>
        <p:nvPicPr>
          <p:cNvPr id="13" name="Immagine 16">
            <a:extLst>
              <a:ext uri="{FF2B5EF4-FFF2-40B4-BE49-F238E27FC236}">
                <a16:creationId xmlns:a16="http://schemas.microsoft.com/office/drawing/2014/main" id="{8E6A2EA2-3A25-4EBF-82A3-90A7878885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71864" y="217453"/>
            <a:ext cx="412289" cy="412289"/>
          </a:xfrm>
          <a:prstGeom prst="rect">
            <a:avLst/>
          </a:prstGeom>
        </p:spPr>
      </p:pic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91CE04EA-3E17-4E8F-A66B-E1B0E6BE2991}"/>
              </a:ext>
            </a:extLst>
          </p:cNvPr>
          <p:cNvCxnSpPr>
            <a:cxnSpLocks/>
          </p:cNvCxnSpPr>
          <p:nvPr userDrawn="1"/>
        </p:nvCxnSpPr>
        <p:spPr>
          <a:xfrm>
            <a:off x="185159" y="830580"/>
            <a:ext cx="1925581" cy="0"/>
          </a:xfrm>
          <a:prstGeom prst="line">
            <a:avLst/>
          </a:prstGeom>
          <a:ln w="28575">
            <a:solidFill>
              <a:srgbClr val="B8D7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06682D0E-3165-47C9-9864-057C015AD5D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58741" y="4947912"/>
            <a:ext cx="22244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defRPr/>
            </a:pPr>
            <a:fld id="{548B21F0-7AE4-4450-A515-CBB00966979F}" type="slidenum">
              <a:rPr lang="en-US" sz="1400" baseline="300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en-US" sz="14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73FB02E6-6C45-418D-8E6E-3F9062E035F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71999" y="1082040"/>
            <a:ext cx="4386317" cy="3601988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304326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DBB23DC8-637C-4F8D-B36D-A769CF63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770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DBB23DC8-637C-4F8D-B36D-A769CF63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4AFF6610-C6C0-48DF-99FA-59ABE3673A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1663" y="1085850"/>
            <a:ext cx="2230437" cy="1244600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20" name="Segnaposto immagine 4">
            <a:extLst>
              <a:ext uri="{FF2B5EF4-FFF2-40B4-BE49-F238E27FC236}">
                <a16:creationId xmlns:a16="http://schemas.microsoft.com/office/drawing/2014/main" id="{C9FCC744-3908-46B6-8244-F2BE218A2B3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942924" y="1085850"/>
            <a:ext cx="3229276" cy="1244600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21" name="Segnaposto immagine 4">
            <a:extLst>
              <a:ext uri="{FF2B5EF4-FFF2-40B4-BE49-F238E27FC236}">
                <a16:creationId xmlns:a16="http://schemas.microsoft.com/office/drawing/2014/main" id="{65FB6AFA-8C46-438B-B0B1-F92D5D201A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79166" y="1085850"/>
            <a:ext cx="2115533" cy="1244600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22" name="Segnaposto immagine 4">
            <a:extLst>
              <a:ext uri="{FF2B5EF4-FFF2-40B4-BE49-F238E27FC236}">
                <a16:creationId xmlns:a16="http://schemas.microsoft.com/office/drawing/2014/main" id="{B493407B-0E72-4B4C-892A-7630166FB2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1663" y="2396203"/>
            <a:ext cx="2941033" cy="1244600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23" name="Segnaposto immagine 4">
            <a:extLst>
              <a:ext uri="{FF2B5EF4-FFF2-40B4-BE49-F238E27FC236}">
                <a16:creationId xmlns:a16="http://schemas.microsoft.com/office/drawing/2014/main" id="{2D196EE1-3839-4353-923F-DDC1229F6F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31301" y="2396203"/>
            <a:ext cx="2153576" cy="1244600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24" name="Segnaposto immagine 4">
            <a:extLst>
              <a:ext uri="{FF2B5EF4-FFF2-40B4-BE49-F238E27FC236}">
                <a16:creationId xmlns:a16="http://schemas.microsoft.com/office/drawing/2014/main" id="{AC915475-21B2-488B-8BC0-5C1D3089925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872878" y="2396203"/>
            <a:ext cx="2521218" cy="1244600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847" y="478067"/>
            <a:ext cx="7886700" cy="286104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>
              <a:lnSpc>
                <a:spcPts val="2200"/>
              </a:lnSpc>
              <a:defRPr sz="2200" b="1">
                <a:solidFill>
                  <a:srgbClr val="164772"/>
                </a:solidFill>
                <a:latin typeface="+mn-lt"/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7B765FD8-9645-42BC-8440-8B58F5650ED1}"/>
              </a:ext>
            </a:extLst>
          </p:cNvPr>
          <p:cNvSpPr/>
          <p:nvPr userDrawn="1"/>
        </p:nvSpPr>
        <p:spPr>
          <a:xfrm>
            <a:off x="0" y="4892040"/>
            <a:ext cx="9144000" cy="271316"/>
          </a:xfrm>
          <a:prstGeom prst="rect">
            <a:avLst/>
          </a:prstGeom>
          <a:solidFill>
            <a:srgbClr val="164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151" dirty="0">
              <a:solidFill>
                <a:srgbClr val="004776"/>
              </a:solidFill>
            </a:endParaRP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CF5ADD90-1B16-4625-BEE7-B11E1A406A36}"/>
              </a:ext>
            </a:extLst>
          </p:cNvPr>
          <p:cNvSpPr txBox="1"/>
          <p:nvPr userDrawn="1"/>
        </p:nvSpPr>
        <p:spPr>
          <a:xfrm>
            <a:off x="185159" y="4958448"/>
            <a:ext cx="160847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Nexa Bold" panose="02000000000000000000" pitchFamily="2" charset="77"/>
              </a:defRPr>
            </a:lvl1pPr>
          </a:lstStyle>
          <a:p>
            <a:pPr algn="l"/>
            <a:r>
              <a:rPr lang="it-IT" sz="900" dirty="0">
                <a:latin typeface="+mj-lt"/>
                <a:cs typeface="Calibri" panose="020F0502020204030204" pitchFamily="34" charset="0"/>
              </a:rPr>
              <a:t>GROUND SEGMENT AS A SERVICE</a:t>
            </a:r>
          </a:p>
        </p:txBody>
      </p:sp>
      <p:pic>
        <p:nvPicPr>
          <p:cNvPr id="13" name="Immagine 16">
            <a:extLst>
              <a:ext uri="{FF2B5EF4-FFF2-40B4-BE49-F238E27FC236}">
                <a16:creationId xmlns:a16="http://schemas.microsoft.com/office/drawing/2014/main" id="{8E6A2EA2-3A25-4EBF-82A3-90A7878885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71864" y="217453"/>
            <a:ext cx="412289" cy="412289"/>
          </a:xfrm>
          <a:prstGeom prst="rect">
            <a:avLst/>
          </a:prstGeom>
        </p:spPr>
      </p:pic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91CE04EA-3E17-4E8F-A66B-E1B0E6BE2991}"/>
              </a:ext>
            </a:extLst>
          </p:cNvPr>
          <p:cNvCxnSpPr>
            <a:cxnSpLocks/>
          </p:cNvCxnSpPr>
          <p:nvPr userDrawn="1"/>
        </p:nvCxnSpPr>
        <p:spPr>
          <a:xfrm>
            <a:off x="185159" y="830580"/>
            <a:ext cx="1925581" cy="0"/>
          </a:xfrm>
          <a:prstGeom prst="line">
            <a:avLst/>
          </a:prstGeom>
          <a:ln w="28575">
            <a:solidFill>
              <a:srgbClr val="B8D7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06682D0E-3165-47C9-9864-057C015AD5D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5881" y="4947912"/>
            <a:ext cx="22244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defRPr/>
            </a:pPr>
            <a:fld id="{548B21F0-7AE4-4450-A515-CBB00966979F}" type="slidenum">
              <a:rPr lang="en-US" sz="1400" baseline="300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en-US" sz="14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06643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DBB23DC8-637C-4F8D-B36D-A769CF63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3343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DBB23DC8-637C-4F8D-B36D-A769CF63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o 2">
            <a:extLst>
              <a:ext uri="{FF2B5EF4-FFF2-40B4-BE49-F238E27FC236}">
                <a16:creationId xmlns:a16="http://schemas.microsoft.com/office/drawing/2014/main" id="{63DCF9B1-6410-4D5A-9C5B-0ACA44504E46}"/>
              </a:ext>
            </a:extLst>
          </p:cNvPr>
          <p:cNvGrpSpPr/>
          <p:nvPr userDrawn="1"/>
        </p:nvGrpSpPr>
        <p:grpSpPr>
          <a:xfrm>
            <a:off x="660400" y="2741050"/>
            <a:ext cx="7048500" cy="84700"/>
            <a:chOff x="660400" y="2686050"/>
            <a:chExt cx="7048500" cy="84700"/>
          </a:xfrm>
        </p:grpSpPr>
        <p:cxnSp>
          <p:nvCxnSpPr>
            <p:cNvPr id="4" name="Connettore diritto 3">
              <a:extLst>
                <a:ext uri="{FF2B5EF4-FFF2-40B4-BE49-F238E27FC236}">
                  <a16:creationId xmlns:a16="http://schemas.microsoft.com/office/drawing/2014/main" id="{CC898DDA-8C93-491F-AA18-B91429E8DEF6}"/>
                </a:ext>
              </a:extLst>
            </p:cNvPr>
            <p:cNvCxnSpPr>
              <a:cxnSpLocks/>
            </p:cNvCxnSpPr>
            <p:nvPr/>
          </p:nvCxnSpPr>
          <p:spPr>
            <a:xfrm>
              <a:off x="660400" y="2686050"/>
              <a:ext cx="7048500" cy="0"/>
            </a:xfrm>
            <a:prstGeom prst="line">
              <a:avLst/>
            </a:prstGeom>
            <a:ln w="12700">
              <a:solidFill>
                <a:srgbClr val="B8D7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ttangolo 4">
              <a:extLst>
                <a:ext uri="{FF2B5EF4-FFF2-40B4-BE49-F238E27FC236}">
                  <a16:creationId xmlns:a16="http://schemas.microsoft.com/office/drawing/2014/main" id="{EF07BCFE-3444-4BE8-B9E1-B637386C6125}"/>
                </a:ext>
              </a:extLst>
            </p:cNvPr>
            <p:cNvSpPr/>
            <p:nvPr/>
          </p:nvSpPr>
          <p:spPr>
            <a:xfrm>
              <a:off x="660400" y="2698750"/>
              <a:ext cx="1260000" cy="72000"/>
            </a:xfrm>
            <a:prstGeom prst="rect">
              <a:avLst/>
            </a:prstGeom>
            <a:solidFill>
              <a:srgbClr val="B8D744"/>
            </a:solidFill>
            <a:ln>
              <a:solidFill>
                <a:srgbClr val="B8D74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A2C2C4AA-2277-4BEB-81E1-01C896B15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2389538"/>
            <a:ext cx="7048500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8841418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DBB23DC8-637C-4F8D-B36D-A769CF63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642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DBB23DC8-637C-4F8D-B36D-A769CF63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342721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USURA">
    <p:bg>
      <p:bgPr>
        <a:solidFill>
          <a:srgbClr val="1647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DBB23DC8-637C-4F8D-B36D-A769CF63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7871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DBB23DC8-637C-4F8D-B36D-A769CF63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asellaDiTesto 31">
            <a:extLst>
              <a:ext uri="{FF2B5EF4-FFF2-40B4-BE49-F238E27FC236}">
                <a16:creationId xmlns:a16="http://schemas.microsoft.com/office/drawing/2014/main" id="{BE3AFC88-87B2-4054-BFED-53DCAE106422}"/>
              </a:ext>
            </a:extLst>
          </p:cNvPr>
          <p:cNvSpPr txBox="1"/>
          <p:nvPr userDrawn="1"/>
        </p:nvSpPr>
        <p:spPr>
          <a:xfrm>
            <a:off x="982213" y="4146552"/>
            <a:ext cx="1694149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14000"/>
              </a:lnSpc>
              <a:defRPr sz="1100" b="1" spc="300">
                <a:solidFill>
                  <a:schemeClr val="bg1"/>
                </a:solidFill>
                <a:latin typeface="Aileron" panose="00000500000000000000" pitchFamily="50" charset="0"/>
              </a:defRPr>
            </a:lvl1pPr>
          </a:lstStyle>
          <a:p>
            <a:pPr algn="l">
              <a:lnSpc>
                <a:spcPts val="1311"/>
              </a:lnSpc>
            </a:pPr>
            <a:r>
              <a:rPr lang="it-IT" spc="0" dirty="0" err="1">
                <a:latin typeface="+mn-lt"/>
                <a:cs typeface="Calibri" panose="020F0502020204030204" pitchFamily="34" charset="0"/>
              </a:rPr>
              <a:t>Leaf</a:t>
            </a:r>
            <a:r>
              <a:rPr lang="it-IT" spc="0" dirty="0">
                <a:latin typeface="+mn-lt"/>
                <a:cs typeface="Calibri" panose="020F0502020204030204" pitchFamily="34" charset="0"/>
              </a:rPr>
              <a:t> Space </a:t>
            </a:r>
            <a:r>
              <a:rPr lang="it-IT" spc="0" dirty="0" err="1">
                <a:latin typeface="+mn-lt"/>
                <a:cs typeface="Calibri" panose="020F0502020204030204" pitchFamily="34" charset="0"/>
              </a:rPr>
              <a:t>coordinates</a:t>
            </a:r>
            <a:endParaRPr lang="it-IT" spc="0" dirty="0">
              <a:latin typeface="+mn-lt"/>
              <a:cs typeface="Calibri" panose="020F0502020204030204" pitchFamily="34" charset="0"/>
            </a:endParaRPr>
          </a:p>
          <a:p>
            <a:pPr algn="l">
              <a:lnSpc>
                <a:spcPts val="1311"/>
              </a:lnSpc>
            </a:pPr>
            <a:r>
              <a:rPr lang="it-IT" b="0" spc="0" dirty="0" err="1">
                <a:latin typeface="+mn-lt"/>
                <a:cs typeface="Calibri" panose="020F0502020204030204" pitchFamily="34" charset="0"/>
              </a:rPr>
              <a:t>info@leaf.space</a:t>
            </a:r>
            <a:endParaRPr lang="it-IT" b="0" spc="0" dirty="0">
              <a:latin typeface="+mn-lt"/>
              <a:cs typeface="Calibri" panose="020F0502020204030204" pitchFamily="34" charset="0"/>
            </a:endParaRPr>
          </a:p>
          <a:p>
            <a:pPr algn="l">
              <a:lnSpc>
                <a:spcPts val="1311"/>
              </a:lnSpc>
            </a:pPr>
            <a:r>
              <a:rPr lang="it-IT" b="0" spc="0" dirty="0">
                <a:latin typeface="+mn-lt"/>
                <a:cs typeface="Calibri" panose="020F0502020204030204" pitchFamily="34" charset="0"/>
              </a:rPr>
              <a:t>info@leafspace.us</a:t>
            </a:r>
          </a:p>
          <a:p>
            <a:pPr algn="l">
              <a:lnSpc>
                <a:spcPts val="1311"/>
              </a:lnSpc>
            </a:pPr>
            <a:r>
              <a:rPr lang="it-IT" spc="0" dirty="0">
                <a:latin typeface="+mn-lt"/>
                <a:cs typeface="Calibri" panose="020F0502020204030204" pitchFamily="34" charset="0"/>
              </a:rPr>
              <a:t>www.leaf.space</a:t>
            </a:r>
          </a:p>
        </p:txBody>
      </p:sp>
      <p:sp>
        <p:nvSpPr>
          <p:cNvPr id="10" name="CasellaDiTesto 31">
            <a:extLst>
              <a:ext uri="{FF2B5EF4-FFF2-40B4-BE49-F238E27FC236}">
                <a16:creationId xmlns:a16="http://schemas.microsoft.com/office/drawing/2014/main" id="{C1DEEC68-9E35-42BE-BB0F-3C3E6CC60BFF}"/>
              </a:ext>
            </a:extLst>
          </p:cNvPr>
          <p:cNvSpPr txBox="1"/>
          <p:nvPr userDrawn="1"/>
        </p:nvSpPr>
        <p:spPr>
          <a:xfrm>
            <a:off x="3463670" y="4146552"/>
            <a:ext cx="1916957" cy="592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14000"/>
              </a:lnSpc>
              <a:defRPr sz="1100" b="1" spc="300">
                <a:solidFill>
                  <a:schemeClr val="bg1"/>
                </a:solidFill>
                <a:latin typeface="Aileron" panose="00000500000000000000" pitchFamily="50" charset="0"/>
              </a:defRPr>
            </a:lvl1pPr>
          </a:lstStyle>
          <a:p>
            <a:pPr algn="l">
              <a:lnSpc>
                <a:spcPts val="1265"/>
              </a:lnSpc>
            </a:pPr>
            <a:r>
              <a:rPr lang="it-IT" spc="0">
                <a:latin typeface="+mn-lt"/>
                <a:cs typeface="Calibri" panose="020F0502020204030204" pitchFamily="34" charset="0"/>
              </a:rPr>
              <a:t>Headquarters</a:t>
            </a:r>
          </a:p>
          <a:p>
            <a:pPr algn="l">
              <a:lnSpc>
                <a:spcPts val="1265"/>
              </a:lnSpc>
            </a:pPr>
            <a:r>
              <a:rPr lang="it-IT" b="0" spc="0">
                <a:latin typeface="+mn-lt"/>
              </a:rPr>
              <a:t>Via Cavour, 2</a:t>
            </a:r>
          </a:p>
          <a:p>
            <a:pPr algn="l">
              <a:lnSpc>
                <a:spcPts val="1265"/>
              </a:lnSpc>
            </a:pPr>
            <a:r>
              <a:rPr lang="it-IT" b="0" spc="0">
                <a:latin typeface="+mn-lt"/>
              </a:rPr>
              <a:t>22074 - Lomazzo (CO) - </a:t>
            </a:r>
            <a:r>
              <a:rPr lang="it-IT" b="0" spc="0" err="1">
                <a:latin typeface="+mn-lt"/>
              </a:rPr>
              <a:t>Italy</a:t>
            </a:r>
            <a:endParaRPr lang="it-IT" b="0" spc="0">
              <a:latin typeface="+mn-lt"/>
            </a:endParaRPr>
          </a:p>
        </p:txBody>
      </p:sp>
      <p:sp>
        <p:nvSpPr>
          <p:cNvPr id="14" name="CasellaDiTesto 31">
            <a:extLst>
              <a:ext uri="{FF2B5EF4-FFF2-40B4-BE49-F238E27FC236}">
                <a16:creationId xmlns:a16="http://schemas.microsoft.com/office/drawing/2014/main" id="{F1217F80-7A88-4755-AF80-E4827CD5BD69}"/>
              </a:ext>
            </a:extLst>
          </p:cNvPr>
          <p:cNvSpPr txBox="1"/>
          <p:nvPr userDrawn="1"/>
        </p:nvSpPr>
        <p:spPr>
          <a:xfrm>
            <a:off x="6167935" y="4146552"/>
            <a:ext cx="1774713" cy="592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lnSpc>
                <a:spcPct val="114000"/>
              </a:lnSpc>
              <a:defRPr sz="1100" b="1" spc="300">
                <a:solidFill>
                  <a:schemeClr val="bg1"/>
                </a:solidFill>
                <a:latin typeface="Aileron" panose="00000500000000000000" pitchFamily="50" charset="0"/>
              </a:defRPr>
            </a:lvl1pPr>
          </a:lstStyle>
          <a:p>
            <a:pPr algn="l">
              <a:lnSpc>
                <a:spcPts val="1265"/>
              </a:lnSpc>
            </a:pPr>
            <a:r>
              <a:rPr lang="it-IT" spc="0" err="1">
                <a:latin typeface="+mn-lt"/>
                <a:cs typeface="Calibri" panose="020F0502020204030204" pitchFamily="34" charset="0"/>
              </a:rPr>
              <a:t>Leaf</a:t>
            </a:r>
            <a:r>
              <a:rPr lang="it-IT" spc="0">
                <a:latin typeface="+mn-lt"/>
                <a:cs typeface="Calibri" panose="020F0502020204030204" pitchFamily="34" charset="0"/>
              </a:rPr>
              <a:t> Space LLC</a:t>
            </a:r>
          </a:p>
          <a:p>
            <a:pPr algn="l">
              <a:lnSpc>
                <a:spcPts val="1265"/>
              </a:lnSpc>
            </a:pPr>
            <a:r>
              <a:rPr lang="it-IT" b="0" spc="0">
                <a:latin typeface="+mn-lt"/>
              </a:rPr>
              <a:t>16192 </a:t>
            </a:r>
            <a:r>
              <a:rPr lang="it-IT" b="0" spc="0" err="1">
                <a:latin typeface="+mn-lt"/>
              </a:rPr>
              <a:t>Coastal</a:t>
            </a:r>
            <a:r>
              <a:rPr lang="it-IT" b="0" spc="0">
                <a:latin typeface="+mn-lt"/>
              </a:rPr>
              <a:t> </a:t>
            </a:r>
            <a:r>
              <a:rPr lang="it-IT" b="0" spc="0" err="1">
                <a:latin typeface="+mn-lt"/>
              </a:rPr>
              <a:t>Hwy</a:t>
            </a:r>
            <a:endParaRPr lang="it-IT" b="0" spc="0">
              <a:latin typeface="+mn-lt"/>
            </a:endParaRPr>
          </a:p>
          <a:p>
            <a:pPr algn="l">
              <a:lnSpc>
                <a:spcPts val="1265"/>
              </a:lnSpc>
            </a:pPr>
            <a:r>
              <a:rPr lang="it-IT" b="0" spc="0" err="1">
                <a:latin typeface="+mn-lt"/>
              </a:rPr>
              <a:t>Lewes</a:t>
            </a:r>
            <a:r>
              <a:rPr lang="it-IT" b="0" spc="0">
                <a:latin typeface="+mn-lt"/>
              </a:rPr>
              <a:t>, DE 19958 - USA</a:t>
            </a:r>
          </a:p>
        </p:txBody>
      </p:sp>
      <p:pic>
        <p:nvPicPr>
          <p:cNvPr id="17" name="Elemento grafico 16">
            <a:extLst>
              <a:ext uri="{FF2B5EF4-FFF2-40B4-BE49-F238E27FC236}">
                <a16:creationId xmlns:a16="http://schemas.microsoft.com/office/drawing/2014/main" id="{2818A82D-15E0-4F19-AB87-25204456BF8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81660" y="1494056"/>
            <a:ext cx="2180680" cy="1469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4440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ggetto 9" hidden="1">
            <a:extLst>
              <a:ext uri="{FF2B5EF4-FFF2-40B4-BE49-F238E27FC236}">
                <a16:creationId xmlns:a16="http://schemas.microsoft.com/office/drawing/2014/main" id="{CF198E06-A230-4CB0-A99F-877386A6DE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962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10" name="Oggetto 9" hidden="1">
                        <a:extLst>
                          <a:ext uri="{FF2B5EF4-FFF2-40B4-BE49-F238E27FC236}">
                            <a16:creationId xmlns:a16="http://schemas.microsoft.com/office/drawing/2014/main" id="{CF198E06-A230-4CB0-A99F-877386A6DE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magine 6">
            <a:extLst>
              <a:ext uri="{FF2B5EF4-FFF2-40B4-BE49-F238E27FC236}">
                <a16:creationId xmlns:a16="http://schemas.microsoft.com/office/drawing/2014/main" id="{AD8AE99C-D997-4DE3-B857-4A6BC59A20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813" b="7813"/>
          <a:stretch/>
        </p:blipFill>
        <p:spPr>
          <a:xfrm>
            <a:off x="-23952" y="0"/>
            <a:ext cx="9191904" cy="5170446"/>
          </a:xfrm>
          <a:prstGeom prst="rect">
            <a:avLst/>
          </a:prstGeom>
        </p:spPr>
      </p:pic>
      <p:sp>
        <p:nvSpPr>
          <p:cNvPr id="22" name="Rettangolo 21">
            <a:extLst>
              <a:ext uri="{FF2B5EF4-FFF2-40B4-BE49-F238E27FC236}">
                <a16:creationId xmlns:a16="http://schemas.microsoft.com/office/drawing/2014/main" id="{2DCEE168-75CB-48B8-BE95-39607DBD41FD}"/>
              </a:ext>
            </a:extLst>
          </p:cNvPr>
          <p:cNvSpPr/>
          <p:nvPr userDrawn="1"/>
        </p:nvSpPr>
        <p:spPr>
          <a:xfrm>
            <a:off x="-23952" y="0"/>
            <a:ext cx="9191904" cy="5170446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3080852"/>
            <a:ext cx="6858000" cy="997196"/>
          </a:xfrm>
          <a:prstGeom prst="rect">
            <a:avLst/>
          </a:prstGeom>
        </p:spPr>
        <p:txBody>
          <a:bodyPr vert="horz" lIns="0" tIns="0" rIns="0" bIns="0" anchor="b">
            <a:spAutoFit/>
          </a:bodyPr>
          <a:lstStyle>
            <a:lvl1pPr algn="ctr">
              <a:defRPr sz="36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4197904"/>
            <a:ext cx="68580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  <p:pic>
        <p:nvPicPr>
          <p:cNvPr id="8" name="Elemento grafico 7">
            <a:extLst>
              <a:ext uri="{FF2B5EF4-FFF2-40B4-BE49-F238E27FC236}">
                <a16:creationId xmlns:a16="http://schemas.microsoft.com/office/drawing/2014/main" id="{ED63DFE3-AB2F-4C2A-BF13-29E805DFDF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81660" y="292557"/>
            <a:ext cx="2180680" cy="1469589"/>
          </a:xfrm>
          <a:prstGeom prst="rect">
            <a:avLst/>
          </a:prstGeom>
        </p:spPr>
      </p:pic>
      <p:sp>
        <p:nvSpPr>
          <p:cNvPr id="17" name="Rectangle 46">
            <a:extLst>
              <a:ext uri="{FF2B5EF4-FFF2-40B4-BE49-F238E27FC236}">
                <a16:creationId xmlns:a16="http://schemas.microsoft.com/office/drawing/2014/main" id="{7F264FA5-EDFD-43A6-A375-DF380A1DD100}"/>
              </a:ext>
            </a:extLst>
          </p:cNvPr>
          <p:cNvSpPr/>
          <p:nvPr userDrawn="1"/>
        </p:nvSpPr>
        <p:spPr>
          <a:xfrm>
            <a:off x="857250" y="1878747"/>
            <a:ext cx="74295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GROUND SEGMENT AS A SERVICE</a:t>
            </a:r>
          </a:p>
        </p:txBody>
      </p:sp>
    </p:spTree>
    <p:extLst>
      <p:ext uri="{BB962C8B-B14F-4D97-AF65-F5344CB8AC3E}">
        <p14:creationId xmlns:p14="http://schemas.microsoft.com/office/powerpoint/2010/main" val="5927204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DBB23DC8-637C-4F8D-B36D-A769CF63E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1899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DBB23DC8-637C-4F8D-B36D-A769CF63E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847" y="478067"/>
            <a:ext cx="7886700" cy="286104"/>
          </a:xfrm>
          <a:prstGeom prst="rect">
            <a:avLst/>
          </a:prstGeom>
        </p:spPr>
        <p:txBody>
          <a:bodyPr vert="horz" lIns="0" tIns="0" rIns="0" bIns="0" anchor="b" anchorCtr="0">
            <a:spAutoFit/>
          </a:bodyPr>
          <a:lstStyle>
            <a:lvl1pPr>
              <a:lnSpc>
                <a:spcPts val="2200"/>
              </a:lnSpc>
              <a:defRPr sz="2200" b="1">
                <a:solidFill>
                  <a:srgbClr val="164772"/>
                </a:solidFill>
                <a:latin typeface="+mn-lt"/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9395" y="1730646"/>
            <a:ext cx="697611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400"/>
            </a:lvl1pPr>
            <a:lvl2pPr marL="358775" indent="-1762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400"/>
            </a:lvl2pPr>
            <a:lvl3pPr marL="541338" indent="-182563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."/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7B765FD8-9645-42BC-8440-8B58F5650ED1}"/>
              </a:ext>
            </a:extLst>
          </p:cNvPr>
          <p:cNvSpPr/>
          <p:nvPr userDrawn="1"/>
        </p:nvSpPr>
        <p:spPr>
          <a:xfrm>
            <a:off x="0" y="4892040"/>
            <a:ext cx="9144000" cy="271316"/>
          </a:xfrm>
          <a:prstGeom prst="rect">
            <a:avLst/>
          </a:prstGeom>
          <a:solidFill>
            <a:srgbClr val="1647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151">
              <a:solidFill>
                <a:srgbClr val="004776"/>
              </a:solidFill>
            </a:endParaRP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CF5ADD90-1B16-4625-BEE7-B11E1A406A36}"/>
              </a:ext>
            </a:extLst>
          </p:cNvPr>
          <p:cNvSpPr txBox="1"/>
          <p:nvPr userDrawn="1"/>
        </p:nvSpPr>
        <p:spPr>
          <a:xfrm>
            <a:off x="185159" y="4958448"/>
            <a:ext cx="160847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Nexa Bold" panose="02000000000000000000" pitchFamily="2" charset="77"/>
              </a:defRPr>
            </a:lvl1pPr>
          </a:lstStyle>
          <a:p>
            <a:pPr algn="l"/>
            <a:r>
              <a:rPr lang="it-IT" sz="900">
                <a:latin typeface="+mj-lt"/>
                <a:cs typeface="Calibri" panose="020F0502020204030204" pitchFamily="34" charset="0"/>
              </a:rPr>
              <a:t>GROUND SEGMENT AS A SERVICE</a:t>
            </a:r>
          </a:p>
        </p:txBody>
      </p:sp>
      <p:pic>
        <p:nvPicPr>
          <p:cNvPr id="13" name="Immagine 16">
            <a:extLst>
              <a:ext uri="{FF2B5EF4-FFF2-40B4-BE49-F238E27FC236}">
                <a16:creationId xmlns:a16="http://schemas.microsoft.com/office/drawing/2014/main" id="{8E6A2EA2-3A25-4EBF-82A3-90A7878885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71864" y="217453"/>
            <a:ext cx="412289" cy="412289"/>
          </a:xfrm>
          <a:prstGeom prst="rect">
            <a:avLst/>
          </a:prstGeom>
        </p:spPr>
      </p:pic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91CE04EA-3E17-4E8F-A66B-E1B0E6BE2991}"/>
              </a:ext>
            </a:extLst>
          </p:cNvPr>
          <p:cNvCxnSpPr>
            <a:cxnSpLocks/>
          </p:cNvCxnSpPr>
          <p:nvPr userDrawn="1"/>
        </p:nvCxnSpPr>
        <p:spPr>
          <a:xfrm>
            <a:off x="185159" y="830580"/>
            <a:ext cx="1925581" cy="0"/>
          </a:xfrm>
          <a:prstGeom prst="line">
            <a:avLst/>
          </a:prstGeom>
          <a:ln w="28575">
            <a:solidFill>
              <a:srgbClr val="B8D7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06682D0E-3165-47C9-9864-057C015AD5D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5881" y="4947912"/>
            <a:ext cx="22244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defRPr/>
            </a:pPr>
            <a:fld id="{548B21F0-7AE4-4450-A515-CBB00966979F}" type="slidenum">
              <a:rPr lang="en-US" sz="1400" baseline="300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en-US" sz="14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3861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E84E2321-0C01-4FB6-B290-E1F5920F1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20108598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0" imgW="306" imgH="306" progId="TCLayout.ActiveDocument.1">
                  <p:embed/>
                </p:oleObj>
              </mc:Choice>
              <mc:Fallback>
                <p:oleObj name="Diapositiva think-cell" r:id="rId10" imgW="306" imgH="30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E84E2321-0C01-4FB6-B290-E1F5920F1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63023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  <p:sldLayoutId id="2147483667" r:id="rId4"/>
    <p:sldLayoutId id="2147483664" r:id="rId5"/>
    <p:sldLayoutId id="2147483665" r:id="rId6"/>
    <p:sldLayoutId id="2147483663" r:id="rId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E84E2321-0C01-4FB6-B290-E1F5920F1B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474123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0" imgW="306" imgH="306" progId="TCLayout.ActiveDocument.1">
                  <p:embed/>
                </p:oleObj>
              </mc:Choice>
              <mc:Fallback>
                <p:oleObj name="Diapositiva think-cell" r:id="rId10" imgW="306" imgH="30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E84E2321-0C01-4FB6-B290-E1F5920F1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59215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1.emf"/><Relationship Id="rId10" Type="http://schemas.openxmlformats.org/officeDocument/2006/relationships/image" Target="../media/image12.sv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1.png"/><Relationship Id="rId14" Type="http://schemas.openxmlformats.org/officeDocument/2006/relationships/image" Target="../media/image1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1453216D-6A55-4C8B-B735-FC0946A2BF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7836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06" imgH="306" progId="TCLayout.ActiveDocument.1">
                  <p:embed/>
                </p:oleObj>
              </mc:Choice>
              <mc:Fallback>
                <p:oleObj name="Diapositiva think-cell" r:id="rId3" imgW="306" imgH="306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1453216D-6A55-4C8B-B735-FC0946A2B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0E7A296F-1A85-442A-91D5-E61AE2F4E4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55002" y="2395061"/>
            <a:ext cx="9254003" cy="1163395"/>
          </a:xfrm>
        </p:spPr>
        <p:txBody>
          <a:bodyPr vert="horz"/>
          <a:lstStyle/>
          <a:p>
            <a:pPr algn="ctr"/>
            <a:r>
              <a:rPr lang="en-US" sz="2800" dirty="0">
                <a:effectLst>
                  <a:outerShdw blurRad="139700" sx="101000" sy="101000" algn="ctr" rotWithShape="0">
                    <a:prstClr val="black">
                      <a:alpha val="2000"/>
                    </a:prstClr>
                  </a:outerShdw>
                </a:effectLst>
                <a:latin typeface="Bahnschrift" panose="020B0502040204020203" pitchFamily="34" charset="0"/>
              </a:rPr>
              <a:t>Maximizing Ground Network Efficiency in the Ground Segment as a Service (GSaaS) Context via Stochastic Model-Driven Capacity Demand Prediction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3398F173-2DF8-4095-8CEC-595E030931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3872384"/>
            <a:ext cx="9144000" cy="249299"/>
          </a:xfrm>
        </p:spPr>
        <p:txBody>
          <a:bodyPr/>
          <a:lstStyle/>
          <a:p>
            <a:pPr indent="180340" algn="ctr"/>
            <a:r>
              <a:rPr lang="en-GB" sz="1800" b="1" dirty="0">
                <a:effectLst/>
                <a:latin typeface="Bahnschrift" panose="020B0502040204020203" pitchFamily="34" charset="0"/>
                <a:ea typeface="PMingLiU" panose="02020500000000000000" pitchFamily="18" charset="-120"/>
              </a:rPr>
              <a:t>Stefan-Vlad Tudor </a:t>
            </a:r>
            <a:endParaRPr lang="it-IT" sz="1800" dirty="0">
              <a:effectLst/>
              <a:latin typeface="Bahnschrift" panose="020B0502040204020203" pitchFamily="34" charset="0"/>
              <a:ea typeface="PMingLiU" panose="02020500000000000000" pitchFamily="18" charset="-120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53EDE778-8B9C-403E-9773-9E131817E97A}"/>
              </a:ext>
            </a:extLst>
          </p:cNvPr>
          <p:cNvSpPr txBox="1"/>
          <p:nvPr/>
        </p:nvSpPr>
        <p:spPr>
          <a:xfrm>
            <a:off x="2217990" y="4749538"/>
            <a:ext cx="4708020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100" b="0" i="0" u="none" strike="noStrike" baseline="0" dirty="0">
                <a:solidFill>
                  <a:schemeClr val="bg2">
                    <a:lumMod val="95000"/>
                  </a:schemeClr>
                </a:solidFill>
                <a:latin typeface="Bahnschrift" panose="020B0502040204020203" pitchFamily="34" charset="0"/>
              </a:rPr>
              <a:t>38th Annual Small Satellite Conference | Logan, UT, USA, 8</a:t>
            </a:r>
            <a:r>
              <a:rPr lang="en-US" sz="1100" b="0" i="0" u="none" strike="noStrike" baseline="30000" dirty="0">
                <a:solidFill>
                  <a:schemeClr val="bg2">
                    <a:lumMod val="95000"/>
                  </a:schemeClr>
                </a:solidFill>
                <a:latin typeface="Bahnschrift" panose="020B0502040204020203" pitchFamily="34" charset="0"/>
              </a:rPr>
              <a:t>th</a:t>
            </a:r>
            <a:r>
              <a:rPr lang="en-US" sz="1100" b="0" i="0" u="none" strike="noStrike" baseline="0" dirty="0">
                <a:solidFill>
                  <a:schemeClr val="bg2">
                    <a:lumMod val="95000"/>
                  </a:schemeClr>
                </a:solidFill>
                <a:latin typeface="Bahnschrift" panose="020B0502040204020203" pitchFamily="34" charset="0"/>
              </a:rPr>
              <a:t> August 2024</a:t>
            </a:r>
            <a:endParaRPr lang="it-IT" sz="1100" i="1" dirty="0">
              <a:solidFill>
                <a:schemeClr val="bg2">
                  <a:lumMod val="95000"/>
                </a:schemeClr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8656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0F628549-7031-40FC-B998-56A269FDF9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06" imgH="306" progId="TCLayout.ActiveDocument.1">
                  <p:embed/>
                </p:oleObj>
              </mc:Choice>
              <mc:Fallback>
                <p:oleObj name="Diapositiva think-cell" r:id="rId4" imgW="306" imgH="30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0F628549-7031-40FC-B998-56A269FDF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151BED59-5C11-44C8-83AE-800254DD3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847" y="478067"/>
            <a:ext cx="3649007" cy="286104"/>
          </a:xfrm>
        </p:spPr>
        <p:txBody>
          <a:bodyPr vert="horz"/>
          <a:lstStyle/>
          <a:p>
            <a:r>
              <a:rPr lang="en-US" dirty="0">
                <a:latin typeface="Bahnschrift" panose="020B0502040204020203" pitchFamily="34" charset="0"/>
              </a:rPr>
              <a:t>GSaaS scaling up problem 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7226F8AD-FFFB-0308-736B-F3D36E89927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68" t="24193" r="11090" b="26835"/>
          <a:stretch/>
        </p:blipFill>
        <p:spPr>
          <a:xfrm>
            <a:off x="246805" y="2029778"/>
            <a:ext cx="650593" cy="286104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1FF1BCBA-2178-C30E-8539-9E8A651CB91F}"/>
              </a:ext>
            </a:extLst>
          </p:cNvPr>
          <p:cNvSpPr/>
          <p:nvPr/>
        </p:nvSpPr>
        <p:spPr>
          <a:xfrm>
            <a:off x="258468" y="1807934"/>
            <a:ext cx="659555" cy="578229"/>
          </a:xfrm>
          <a:prstGeom prst="ellipse">
            <a:avLst/>
          </a:prstGeom>
          <a:noFill/>
          <a:ln w="19050">
            <a:solidFill>
              <a:srgbClr val="B8D7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phic 5" descr="Question Mark with solid fill">
            <a:extLst>
              <a:ext uri="{FF2B5EF4-FFF2-40B4-BE49-F238E27FC236}">
                <a16:creationId xmlns:a16="http://schemas.microsoft.com/office/drawing/2014/main" id="{FBD16DFE-8A70-6495-4A82-D8F260D45B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8102" y="1838714"/>
            <a:ext cx="160285" cy="160285"/>
          </a:xfrm>
          <a:prstGeom prst="rect">
            <a:avLst/>
          </a:prstGeom>
        </p:spPr>
      </p:pic>
      <p:pic>
        <p:nvPicPr>
          <p:cNvPr id="9" name="Graphic 8" descr="Hourglass 60% with solid fill">
            <a:extLst>
              <a:ext uri="{FF2B5EF4-FFF2-40B4-BE49-F238E27FC236}">
                <a16:creationId xmlns:a16="http://schemas.microsoft.com/office/drawing/2014/main" id="{197A23A3-156A-8621-5F55-17B52B7F1D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0381" y="2608007"/>
            <a:ext cx="495725" cy="495725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D65CD9B4-9F62-989D-E6F6-91979A430677}"/>
              </a:ext>
            </a:extLst>
          </p:cNvPr>
          <p:cNvSpPr/>
          <p:nvPr/>
        </p:nvSpPr>
        <p:spPr>
          <a:xfrm>
            <a:off x="258465" y="2568829"/>
            <a:ext cx="659555" cy="578229"/>
          </a:xfrm>
          <a:prstGeom prst="ellipse">
            <a:avLst/>
          </a:prstGeom>
          <a:noFill/>
          <a:ln w="19050">
            <a:solidFill>
              <a:srgbClr val="B8D7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29DAF1-7254-58C3-C2D9-D551BF31333E}"/>
              </a:ext>
            </a:extLst>
          </p:cNvPr>
          <p:cNvSpPr txBox="1"/>
          <p:nvPr/>
        </p:nvSpPr>
        <p:spPr>
          <a:xfrm>
            <a:off x="1058780" y="1154792"/>
            <a:ext cx="151445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How Many GSs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BDD347C-A694-165F-999B-159452A57C15}"/>
              </a:ext>
            </a:extLst>
          </p:cNvPr>
          <p:cNvSpPr txBox="1"/>
          <p:nvPr/>
        </p:nvSpPr>
        <p:spPr>
          <a:xfrm>
            <a:off x="159847" y="3227816"/>
            <a:ext cx="33482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1" dirty="0"/>
              <a:t>The Ground Segment</a:t>
            </a:r>
            <a:r>
              <a:rPr lang="en-US" dirty="0"/>
              <a:t> is the response of the </a:t>
            </a:r>
            <a:r>
              <a:rPr lang="en-US" b="1" dirty="0"/>
              <a:t>Space Segment </a:t>
            </a:r>
            <a:r>
              <a:rPr lang="en-US" b="1" u="sng" dirty="0"/>
              <a:t>Capacity Demand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42356AA-B33D-D2D7-2ECA-2CDB1C521718}"/>
              </a:ext>
            </a:extLst>
          </p:cNvPr>
          <p:cNvGrpSpPr/>
          <p:nvPr/>
        </p:nvGrpSpPr>
        <p:grpSpPr>
          <a:xfrm>
            <a:off x="246805" y="1041299"/>
            <a:ext cx="659555" cy="578229"/>
            <a:chOff x="2676909" y="3232891"/>
            <a:chExt cx="659555" cy="578229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C274F0F-1BEE-CF65-4B18-13476011852A}"/>
                </a:ext>
              </a:extLst>
            </p:cNvPr>
            <p:cNvSpPr/>
            <p:nvPr/>
          </p:nvSpPr>
          <p:spPr>
            <a:xfrm>
              <a:off x="2676909" y="3232891"/>
              <a:ext cx="659555" cy="578229"/>
            </a:xfrm>
            <a:prstGeom prst="ellipse">
              <a:avLst/>
            </a:prstGeom>
            <a:noFill/>
            <a:ln w="19050">
              <a:solidFill>
                <a:srgbClr val="B8D74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Elemento grafico 9" descr="Antenna satellitare">
              <a:extLst>
                <a:ext uri="{FF2B5EF4-FFF2-40B4-BE49-F238E27FC236}">
                  <a16:creationId xmlns:a16="http://schemas.microsoft.com/office/drawing/2014/main" id="{B82B6A7C-819A-9EA5-D791-D46A0DF7BC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flipH="1">
              <a:off x="2731872" y="3296464"/>
              <a:ext cx="522705" cy="465161"/>
            </a:xfrm>
            <a:prstGeom prst="rect">
              <a:avLst/>
            </a:prstGeom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BA17D954-E480-2D45-91A7-925860AEB52E}"/>
              </a:ext>
            </a:extLst>
          </p:cNvPr>
          <p:cNvSpPr txBox="1"/>
          <p:nvPr/>
        </p:nvSpPr>
        <p:spPr>
          <a:xfrm>
            <a:off x="1058780" y="1891278"/>
            <a:ext cx="74238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Where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6B71D70-D58E-F3E3-A7DD-22A94AE3DC5D}"/>
              </a:ext>
            </a:extLst>
          </p:cNvPr>
          <p:cNvSpPr txBox="1"/>
          <p:nvPr/>
        </p:nvSpPr>
        <p:spPr>
          <a:xfrm>
            <a:off x="1058780" y="2672737"/>
            <a:ext cx="67165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When?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E021D2E-3D3A-26C3-582A-0973FDBD2B51}"/>
              </a:ext>
            </a:extLst>
          </p:cNvPr>
          <p:cNvSpPr txBox="1"/>
          <p:nvPr/>
        </p:nvSpPr>
        <p:spPr>
          <a:xfrm>
            <a:off x="3961274" y="826077"/>
            <a:ext cx="4730129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3D problem for model uncertainty:</a:t>
            </a:r>
          </a:p>
          <a:p>
            <a:pPr marL="342900" indent="-342900">
              <a:buAutoNum type="arabicPeriod"/>
            </a:pPr>
            <a:r>
              <a:rPr lang="en-US" b="1" dirty="0"/>
              <a:t>Space Segment</a:t>
            </a:r>
            <a:endParaRPr lang="en-US" dirty="0"/>
          </a:p>
          <a:p>
            <a:pPr marL="342900" indent="-342900">
              <a:buAutoNum type="arabicPeriod"/>
            </a:pPr>
            <a:r>
              <a:rPr lang="en-US" b="1" dirty="0"/>
              <a:t>Ground Segment</a:t>
            </a:r>
            <a:r>
              <a:rPr lang="en-US" dirty="0"/>
              <a:t>    </a:t>
            </a:r>
          </a:p>
          <a:p>
            <a:pPr marL="342900" indent="-342900">
              <a:buFontTx/>
              <a:buAutoNum type="arabicPeriod"/>
            </a:pPr>
            <a:r>
              <a:rPr lang="en-US" b="1" dirty="0"/>
              <a:t>Time</a:t>
            </a:r>
            <a:endParaRPr lang="en-US" dirty="0"/>
          </a:p>
          <a:p>
            <a:endParaRPr lang="en-US" dirty="0"/>
          </a:p>
          <a:p>
            <a:r>
              <a:rPr lang="en-US" sz="1800" u="sng" dirty="0">
                <a:effectLst>
                  <a:outerShdw blurRad="139700" sx="101000" sy="101000" algn="ctr" rotWithShape="0">
                    <a:prstClr val="black">
                      <a:alpha val="2000"/>
                    </a:prstClr>
                  </a:outerShdw>
                </a:effectLst>
                <a:latin typeface="+mj-lt"/>
              </a:rPr>
              <a:t>Stochastic Model</a:t>
            </a:r>
            <a:r>
              <a:rPr lang="en-US" sz="1800" dirty="0">
                <a:effectLst>
                  <a:outerShdw blurRad="139700" sx="101000" sy="101000" algn="ctr" rotWithShape="0">
                    <a:prstClr val="black">
                      <a:alpha val="2000"/>
                    </a:prstClr>
                  </a:outerShdw>
                </a:effectLst>
                <a:latin typeface="+mj-lt"/>
              </a:rPr>
              <a:t> for GS optimal expansion</a:t>
            </a:r>
          </a:p>
          <a:p>
            <a:endParaRPr lang="en-US" dirty="0">
              <a:effectLst>
                <a:outerShdw blurRad="139700" sx="101000" sy="101000" algn="ctr" rotWithShape="0">
                  <a:prstClr val="black">
                    <a:alpha val="2000"/>
                  </a:prstClr>
                </a:outerShdw>
              </a:effectLst>
              <a:latin typeface="Bahnschrift" panose="020B0502040204020203" pitchFamily="34" charset="0"/>
            </a:endParaRPr>
          </a:p>
          <a:p>
            <a:endParaRPr lang="en-US" dirty="0">
              <a:effectLst>
                <a:outerShdw blurRad="139700" sx="101000" sy="101000" algn="ctr" rotWithShape="0">
                  <a:prstClr val="black">
                    <a:alpha val="2000"/>
                  </a:prstClr>
                </a:outerShdw>
              </a:effectLst>
              <a:latin typeface="Bahnschrift" panose="020B0502040204020203" pitchFamily="34" charset="0"/>
            </a:endParaRPr>
          </a:p>
          <a:p>
            <a:r>
              <a:rPr lang="en-US" b="1" dirty="0"/>
              <a:t>SCENARIOS</a:t>
            </a:r>
            <a:r>
              <a:rPr lang="en-US" dirty="0"/>
              <a:t> based on single GS/SS KPI coupling</a:t>
            </a:r>
          </a:p>
          <a:p>
            <a:pPr algn="ctr"/>
            <a:r>
              <a:rPr lang="en-US" sz="1600" dirty="0"/>
              <a:t>Fixing demand – supply 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Sets </a:t>
            </a:r>
            <a:r>
              <a:rPr lang="en-US" b="1" dirty="0"/>
              <a:t>CASES</a:t>
            </a:r>
            <a:r>
              <a:rPr lang="en-US" dirty="0"/>
              <a:t> of SS/GS with different configuration</a:t>
            </a:r>
          </a:p>
          <a:p>
            <a:pPr algn="ctr"/>
            <a:r>
              <a:rPr lang="en-US" sz="1600" dirty="0"/>
              <a:t>Validates demand – supply is achieved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01AB47B-ABCF-B39B-D6D0-89A85B6CF41E}"/>
              </a:ext>
            </a:extLst>
          </p:cNvPr>
          <p:cNvSpPr txBox="1"/>
          <p:nvPr/>
        </p:nvSpPr>
        <p:spPr>
          <a:xfrm>
            <a:off x="104846" y="4253054"/>
            <a:ext cx="314711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dirty="0"/>
              <a:t>Space/Ground expansion discrepancy timeline   </a:t>
            </a:r>
          </a:p>
        </p:txBody>
      </p:sp>
      <p:pic>
        <p:nvPicPr>
          <p:cNvPr id="40" name="Graphic 39" descr="Caret Up with solid fill">
            <a:extLst>
              <a:ext uri="{FF2B5EF4-FFF2-40B4-BE49-F238E27FC236}">
                <a16:creationId xmlns:a16="http://schemas.microsoft.com/office/drawing/2014/main" id="{C2EB9AD7-4B10-B2EE-B935-949F69AF5D8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10800000">
            <a:off x="5535791" y="2360325"/>
            <a:ext cx="914400" cy="914400"/>
          </a:xfrm>
          <a:prstGeom prst="rect">
            <a:avLst/>
          </a:prstGeom>
        </p:spPr>
      </p:pic>
      <p:pic>
        <p:nvPicPr>
          <p:cNvPr id="41" name="Graphic 40" descr="Caret Up with solid fill">
            <a:extLst>
              <a:ext uri="{FF2B5EF4-FFF2-40B4-BE49-F238E27FC236}">
                <a16:creationId xmlns:a16="http://schemas.microsoft.com/office/drawing/2014/main" id="{65DC3C2D-78CE-BABC-8AF2-0FDF2EA05EA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10800000">
            <a:off x="5535791" y="1541799"/>
            <a:ext cx="914400" cy="914400"/>
          </a:xfrm>
          <a:prstGeom prst="rect">
            <a:avLst/>
          </a:prstGeom>
        </p:spPr>
      </p:pic>
      <p:pic>
        <p:nvPicPr>
          <p:cNvPr id="42" name="Graphic 41" descr="Caret Up with solid fill">
            <a:extLst>
              <a:ext uri="{FF2B5EF4-FFF2-40B4-BE49-F238E27FC236}">
                <a16:creationId xmlns:a16="http://schemas.microsoft.com/office/drawing/2014/main" id="{E51B60E1-CF37-CBE3-7DBA-0B981F8EC2B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10800000">
            <a:off x="5535791" y="343986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7079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0F628549-7031-40FC-B998-56A269FDF9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06" imgH="306" progId="TCLayout.ActiveDocument.1">
                  <p:embed/>
                </p:oleObj>
              </mc:Choice>
              <mc:Fallback>
                <p:oleObj name="Diapositiva think-cell" r:id="rId4" imgW="306" imgH="30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0F628549-7031-40FC-B998-56A269FDF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151BED59-5C11-44C8-83AE-800254DD33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Bahnschrift" panose="020B0502040204020203" pitchFamily="34" charset="0"/>
              </a:rPr>
              <a:t>Problem Modelling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4882233-FBEF-BD8A-E5F4-C2322DFB8209}"/>
              </a:ext>
            </a:extLst>
          </p:cNvPr>
          <p:cNvSpPr txBox="1"/>
          <p:nvPr/>
        </p:nvSpPr>
        <p:spPr>
          <a:xfrm>
            <a:off x="391886" y="880023"/>
            <a:ext cx="3687100" cy="41549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dirty="0"/>
              <a:t>Space Segmen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Defining size and orbital distributi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CONOP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Total Demand</a:t>
            </a:r>
          </a:p>
          <a:p>
            <a:pPr algn="l"/>
            <a:endParaRPr lang="en-US" dirty="0"/>
          </a:p>
          <a:p>
            <a:pPr algn="l"/>
            <a:r>
              <a:rPr lang="en-US" dirty="0"/>
              <a:t>Ground Segmen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Random Sat – GS allocatio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Starting point: Leaf Line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Locations feasibility</a:t>
            </a:r>
          </a:p>
          <a:p>
            <a:pPr algn="l"/>
            <a:r>
              <a:rPr lang="en-US" dirty="0"/>
              <a:t> </a:t>
            </a:r>
          </a:p>
          <a:p>
            <a:pPr algn="l"/>
            <a:r>
              <a:rPr lang="en-US" dirty="0"/>
              <a:t>Tim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certainty modelling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Sets model boundaries </a:t>
            </a:r>
          </a:p>
          <a:p>
            <a:pPr algn="l"/>
            <a:endParaRPr lang="en-US" dirty="0"/>
          </a:p>
          <a:p>
            <a:pPr algn="l"/>
            <a:endParaRPr lang="en-US" dirty="0"/>
          </a:p>
        </p:txBody>
      </p:sp>
      <p:pic>
        <p:nvPicPr>
          <p:cNvPr id="15" name="Picture 14" descr="A graph of a line graph&#10;&#10;Description automatically generated">
            <a:extLst>
              <a:ext uri="{FF2B5EF4-FFF2-40B4-BE49-F238E27FC236}">
                <a16:creationId xmlns:a16="http://schemas.microsoft.com/office/drawing/2014/main" id="{39134A92-7F31-E635-BB1A-F86F316318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930" y="0"/>
            <a:ext cx="3513706" cy="266928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8519988-E621-FFE2-7CDC-83E68F54EFE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914" t="26333" r="12406" b="27439"/>
          <a:stretch/>
        </p:blipFill>
        <p:spPr>
          <a:xfrm>
            <a:off x="4487753" y="2669283"/>
            <a:ext cx="4573290" cy="22121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044BA9B-6E5C-B6A2-7D12-8DB8FA1FE0FF}"/>
              </a:ext>
            </a:extLst>
          </p:cNvPr>
          <p:cNvSpPr txBox="1"/>
          <p:nvPr/>
        </p:nvSpPr>
        <p:spPr>
          <a:xfrm>
            <a:off x="3494804" y="3958053"/>
            <a:ext cx="89589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dirty="0"/>
              <a:t>Active</a:t>
            </a:r>
          </a:p>
          <a:p>
            <a:pPr algn="l"/>
            <a:r>
              <a:rPr lang="en-US" dirty="0"/>
              <a:t>End-24</a:t>
            </a:r>
          </a:p>
          <a:p>
            <a:pPr algn="l"/>
            <a:r>
              <a:rPr lang="en-US" dirty="0"/>
              <a:t>End-25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810AEE37-A02D-08FD-8A11-17EF3D947E29}"/>
              </a:ext>
            </a:extLst>
          </p:cNvPr>
          <p:cNvSpPr/>
          <p:nvPr/>
        </p:nvSpPr>
        <p:spPr>
          <a:xfrm>
            <a:off x="3257094" y="4084093"/>
            <a:ext cx="182707" cy="189835"/>
          </a:xfrm>
          <a:prstGeom prst="ellipse">
            <a:avLst/>
          </a:prstGeom>
          <a:solidFill>
            <a:srgbClr val="81A4B3"/>
          </a:solidFill>
          <a:ln>
            <a:solidFill>
              <a:srgbClr val="81A4B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74E30F7-30D9-52B5-52EB-85B53A7721A4}"/>
              </a:ext>
            </a:extLst>
          </p:cNvPr>
          <p:cNvSpPr/>
          <p:nvPr/>
        </p:nvSpPr>
        <p:spPr>
          <a:xfrm>
            <a:off x="3257095" y="4327304"/>
            <a:ext cx="182707" cy="189835"/>
          </a:xfrm>
          <a:prstGeom prst="ellipse">
            <a:avLst/>
          </a:prstGeom>
          <a:solidFill>
            <a:srgbClr val="95D3CA"/>
          </a:solidFill>
          <a:ln>
            <a:solidFill>
              <a:srgbClr val="95D3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F7F3162-3CEF-2326-1A62-1A38FD6D08D2}"/>
              </a:ext>
            </a:extLst>
          </p:cNvPr>
          <p:cNvSpPr/>
          <p:nvPr/>
        </p:nvSpPr>
        <p:spPr>
          <a:xfrm>
            <a:off x="3257094" y="4570515"/>
            <a:ext cx="182707" cy="189835"/>
          </a:xfrm>
          <a:prstGeom prst="ellipse">
            <a:avLst/>
          </a:prstGeom>
          <a:solidFill>
            <a:srgbClr val="FFDF7F"/>
          </a:solidFill>
          <a:ln>
            <a:solidFill>
              <a:srgbClr val="FFDF7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8570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diagram of a graph&#10;&#10;Description automatically generated">
            <a:extLst>
              <a:ext uri="{FF2B5EF4-FFF2-40B4-BE49-F238E27FC236}">
                <a16:creationId xmlns:a16="http://schemas.microsoft.com/office/drawing/2014/main" id="{AC43B58B-18C2-D5FB-C9F5-989E89DB96D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84" t="19419" r="20826" b="14530"/>
          <a:stretch/>
        </p:blipFill>
        <p:spPr>
          <a:xfrm>
            <a:off x="89413" y="907707"/>
            <a:ext cx="4553022" cy="39552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C77342-9CA9-9F3B-A534-3D7301C5A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847" y="472424"/>
            <a:ext cx="7886700" cy="291747"/>
          </a:xfrm>
        </p:spPr>
        <p:txBody>
          <a:bodyPr/>
          <a:lstStyle/>
          <a:p>
            <a:r>
              <a:rPr lang="en-US" dirty="0">
                <a:effectLst>
                  <a:outerShdw blurRad="139700" sx="101000" sy="101000" algn="ctr" rotWithShape="0">
                    <a:prstClr val="black">
                      <a:alpha val="2000"/>
                    </a:prstClr>
                  </a:outerShdw>
                </a:effectLst>
                <a:latin typeface="Bahnschrift" panose="020B0502040204020203" pitchFamily="34" charset="0"/>
              </a:rPr>
              <a:t>Stochastic Model Results</a:t>
            </a:r>
            <a:endParaRPr lang="en-US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DFF7CA2-35B5-CDF5-1140-1498196601F6}"/>
              </a:ext>
            </a:extLst>
          </p:cNvPr>
          <p:cNvSpPr txBox="1"/>
          <p:nvPr/>
        </p:nvSpPr>
        <p:spPr>
          <a:xfrm>
            <a:off x="508763" y="4441439"/>
            <a:ext cx="45788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200" dirty="0"/>
              <a:t>Successful SCENARIOS</a:t>
            </a:r>
            <a:r>
              <a:rPr lang="en-US" sz="1200" b="1" u="sng" dirty="0"/>
              <a:t> </a:t>
            </a:r>
            <a:endParaRPr lang="en-US" sz="1200" dirty="0"/>
          </a:p>
          <a:p>
            <a:pPr algn="l"/>
            <a:r>
              <a:rPr lang="en-US" sz="1200" dirty="0"/>
              <a:t>Failed SCENARIOS</a:t>
            </a:r>
            <a:r>
              <a:rPr lang="en-US" sz="1200" b="1" u="sng" dirty="0"/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78498A-58C2-80BE-1326-F7861F0611EC}"/>
              </a:ext>
            </a:extLst>
          </p:cNvPr>
          <p:cNvSpPr txBox="1"/>
          <p:nvPr/>
        </p:nvSpPr>
        <p:spPr>
          <a:xfrm>
            <a:off x="4627022" y="615623"/>
            <a:ext cx="4578875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Once the number of </a:t>
            </a:r>
            <a:r>
              <a:rPr lang="en-US" b="1" dirty="0"/>
              <a:t>CASES </a:t>
            </a:r>
            <a:r>
              <a:rPr lang="en-US" dirty="0"/>
              <a:t>meeting the demand surpasses a predefined </a:t>
            </a:r>
            <a:r>
              <a:rPr lang="en-US" b="1" dirty="0"/>
              <a:t>threshold, </a:t>
            </a:r>
            <a:r>
              <a:rPr lang="en-US" dirty="0"/>
              <a:t>the </a:t>
            </a:r>
            <a:r>
              <a:rPr lang="en-US" b="1" dirty="0"/>
              <a:t>SCENARIO</a:t>
            </a:r>
            <a:r>
              <a:rPr lang="en-US" dirty="0"/>
              <a:t> is considered </a:t>
            </a:r>
            <a:r>
              <a:rPr lang="en-US" b="1" u="sng" dirty="0"/>
              <a:t>successful</a:t>
            </a:r>
          </a:p>
          <a:p>
            <a:endParaRPr lang="en-US" b="1" u="sng" dirty="0"/>
          </a:p>
          <a:p>
            <a:pPr algn="l"/>
            <a:r>
              <a:rPr lang="en-US" b="1" u="sng" dirty="0"/>
              <a:t>The optimal solutions are at the transition between failed to successful SCENARIOS</a:t>
            </a:r>
          </a:p>
          <a:p>
            <a:endParaRPr lang="en-US" dirty="0"/>
          </a:p>
          <a:p>
            <a:r>
              <a:rPr lang="en-US" dirty="0"/>
              <a:t>How many GSs, Where and When?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Statistics on successful cases (RISK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r>
              <a:rPr lang="en-US" dirty="0"/>
              <a:t>This problem can be solved </a:t>
            </a:r>
            <a:r>
              <a:rPr lang="en-US" b="1" u="sng" dirty="0"/>
              <a:t>ONLY</a:t>
            </a:r>
            <a:r>
              <a:rPr lang="en-US" dirty="0"/>
              <a:t> by using autonomous scheduling techniques for capacity allocation and visibility conflict solving – </a:t>
            </a:r>
            <a:r>
              <a:rPr lang="en-US" b="1" u="sng" dirty="0"/>
              <a:t>Leaf Line Scheduler </a:t>
            </a:r>
          </a:p>
          <a:p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A392328-A4DC-77EE-FD7F-BC2AB9CB8B6F}"/>
              </a:ext>
            </a:extLst>
          </p:cNvPr>
          <p:cNvSpPr/>
          <p:nvPr/>
        </p:nvSpPr>
        <p:spPr>
          <a:xfrm>
            <a:off x="377619" y="4523765"/>
            <a:ext cx="131144" cy="137984"/>
          </a:xfrm>
          <a:prstGeom prst="ellipse">
            <a:avLst/>
          </a:prstGeom>
          <a:solidFill>
            <a:srgbClr val="068206"/>
          </a:solidFill>
          <a:ln>
            <a:solidFill>
              <a:srgbClr val="06820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5DDCBD3-BCDD-8826-008A-787B8ED7BD71}"/>
              </a:ext>
            </a:extLst>
          </p:cNvPr>
          <p:cNvSpPr/>
          <p:nvPr/>
        </p:nvSpPr>
        <p:spPr>
          <a:xfrm>
            <a:off x="377619" y="4687509"/>
            <a:ext cx="131144" cy="135267"/>
          </a:xfrm>
          <a:prstGeom prst="ellipse">
            <a:avLst/>
          </a:prstGeom>
          <a:solidFill>
            <a:srgbClr val="FD1010"/>
          </a:solidFill>
          <a:ln>
            <a:solidFill>
              <a:srgbClr val="FD101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9891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77EBA12A-5470-BD5F-8B10-5B286536D0EB}"/>
              </a:ext>
            </a:extLst>
          </p:cNvPr>
          <p:cNvSpPr txBox="1"/>
          <p:nvPr/>
        </p:nvSpPr>
        <p:spPr>
          <a:xfrm>
            <a:off x="0" y="2169700"/>
            <a:ext cx="9144000" cy="1541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0" i="0" u="none" strike="noStrike" baseline="0" dirty="0">
                <a:solidFill>
                  <a:schemeClr val="bg2">
                    <a:lumMod val="95000"/>
                  </a:schemeClr>
                </a:solidFill>
                <a:latin typeface="Arial" panose="020B0604020202020204" pitchFamily="34" charset="0"/>
              </a:rPr>
              <a:t>38th Annual Small Satellite Conference | Logan, UT, USA, 8 August 2024</a:t>
            </a:r>
            <a:endParaRPr lang="it-IT" sz="1000" i="1" dirty="0">
              <a:solidFill>
                <a:schemeClr val="bg2">
                  <a:lumMod val="9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1DB5115-4CEE-781B-B1EC-4E3473141FE0}"/>
              </a:ext>
            </a:extLst>
          </p:cNvPr>
          <p:cNvSpPr txBox="1"/>
          <p:nvPr/>
        </p:nvSpPr>
        <p:spPr>
          <a:xfrm>
            <a:off x="0" y="2560578"/>
            <a:ext cx="9143999" cy="98488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solidFill>
                  <a:schemeClr val="bg2"/>
                </a:solidFill>
                <a:latin typeface="Bahnschrift" panose="020B0502040204020203" pitchFamily="34" charset="0"/>
                <a:ea typeface="+mj-ea"/>
                <a:cs typeface="+mj-cs"/>
              </a:rPr>
              <a:t>Thank you for your attention!</a:t>
            </a:r>
          </a:p>
          <a:p>
            <a:pPr algn="ctr"/>
            <a:r>
              <a:rPr lang="en-US" sz="3200" b="1" dirty="0">
                <a:solidFill>
                  <a:schemeClr val="bg2"/>
                </a:solidFill>
                <a:latin typeface="Bahnschrift" panose="020B0502040204020203" pitchFamily="34" charset="0"/>
                <a:ea typeface="+mj-ea"/>
                <a:cs typeface="+mj-cs"/>
              </a:rPr>
              <a:t>See you at </a:t>
            </a:r>
            <a:r>
              <a:rPr lang="en-US" sz="3200" b="1">
                <a:solidFill>
                  <a:schemeClr val="bg2"/>
                </a:solidFill>
                <a:latin typeface="Bahnschrift" panose="020B0502040204020203" pitchFamily="34" charset="0"/>
                <a:ea typeface="+mj-ea"/>
                <a:cs typeface="+mj-cs"/>
              </a:rPr>
              <a:t>our booth Fieldhouse #208</a:t>
            </a:r>
            <a:endParaRPr lang="en-US" sz="3200" b="1" dirty="0">
              <a:solidFill>
                <a:schemeClr val="bg2"/>
              </a:solidFill>
              <a:latin typeface="Bahnschrift" panose="020B0502040204020203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168502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9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7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AF_SPACE_2021">
  <a:themeElements>
    <a:clrScheme name="LEAFSPACE_202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164772"/>
      </a:accent1>
      <a:accent2>
        <a:srgbClr val="B8D744"/>
      </a:accent2>
      <a:accent3>
        <a:srgbClr val="0076EE"/>
      </a:accent3>
      <a:accent4>
        <a:srgbClr val="FFC000"/>
      </a:accent4>
      <a:accent5>
        <a:srgbClr val="E0E0E0"/>
      </a:accent5>
      <a:accent6>
        <a:srgbClr val="30302E"/>
      </a:accent6>
      <a:hlink>
        <a:srgbClr val="0076EE"/>
      </a:hlink>
      <a:folHlink>
        <a:srgbClr val="FFB600"/>
      </a:folHlink>
    </a:clrScheme>
    <a:fontScheme name="LEAFSPACE_2021">
      <a:majorFont>
        <a:latin typeface="Calibri "/>
        <a:ea typeface=""/>
        <a:cs typeface=""/>
      </a:majorFont>
      <a:minorFont>
        <a:latin typeface="Calibri"/>
        <a:ea typeface=""/>
        <a:cs typeface="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LEAF_SPACE_2021">
  <a:themeElements>
    <a:clrScheme name="LEAFSPACE_202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164772"/>
      </a:accent1>
      <a:accent2>
        <a:srgbClr val="B8D744"/>
      </a:accent2>
      <a:accent3>
        <a:srgbClr val="0076EE"/>
      </a:accent3>
      <a:accent4>
        <a:srgbClr val="FFC000"/>
      </a:accent4>
      <a:accent5>
        <a:srgbClr val="E0E0E0"/>
      </a:accent5>
      <a:accent6>
        <a:srgbClr val="30302E"/>
      </a:accent6>
      <a:hlink>
        <a:srgbClr val="0076EE"/>
      </a:hlink>
      <a:folHlink>
        <a:srgbClr val="FFB600"/>
      </a:folHlink>
    </a:clrScheme>
    <a:fontScheme name="LEAFSPACE_2021">
      <a:majorFont>
        <a:latin typeface="Calibri "/>
        <a:ea typeface=""/>
        <a:cs typeface=""/>
      </a:majorFont>
      <a:minorFont>
        <a:latin typeface="Calibri"/>
        <a:ea typeface=""/>
        <a:cs typeface="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ab6262c-9d67-442a-889b-c3ecc8b4bfb9">
      <UserInfo>
        <DisplayName>Paolo Musetti</DisplayName>
        <AccountId>85</AccountId>
        <AccountType/>
      </UserInfo>
    </SharedWithUsers>
    <lcf76f155ced4ddcb4097134ff3c332f xmlns="6e12c274-9d88-4fa5-b2a4-9c166e4ea2dc">
      <Terms xmlns="http://schemas.microsoft.com/office/infopath/2007/PartnerControls"/>
    </lcf76f155ced4ddcb4097134ff3c332f>
    <TaxCatchAll xmlns="1ab6262c-9d67-442a-889b-c3ecc8b4bfb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6E9796E1E24D742B46145FC6E8E9FB2" ma:contentTypeVersion="17" ma:contentTypeDescription="Creare un nuovo documento." ma:contentTypeScope="" ma:versionID="d17654057563db6dfc9db2124ed29616">
  <xsd:schema xmlns:xsd="http://www.w3.org/2001/XMLSchema" xmlns:xs="http://www.w3.org/2001/XMLSchema" xmlns:p="http://schemas.microsoft.com/office/2006/metadata/properties" xmlns:ns2="6e12c274-9d88-4fa5-b2a4-9c166e4ea2dc" xmlns:ns3="1ab6262c-9d67-442a-889b-c3ecc8b4bfb9" targetNamespace="http://schemas.microsoft.com/office/2006/metadata/properties" ma:root="true" ma:fieldsID="32e2bbc61a4aba10fb8d35177ab4f2c0" ns2:_="" ns3:_="">
    <xsd:import namespace="6e12c274-9d88-4fa5-b2a4-9c166e4ea2dc"/>
    <xsd:import namespace="1ab6262c-9d67-442a-889b-c3ecc8b4bf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12c274-9d88-4fa5-b2a4-9c166e4ea2d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Tag immagine" ma:readOnly="false" ma:fieldId="{5cf76f15-5ced-4ddc-b409-7134ff3c332f}" ma:taxonomyMulti="true" ma:sspId="46060469-07fe-481e-bbb0-80fa0781f8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b6262c-9d67-442a-889b-c3ecc8b4bfb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28191cb-f842-4b63-ae21-c18811040bbd}" ma:internalName="TaxCatchAll" ma:showField="CatchAllData" ma:web="1ab6262c-9d67-442a-889b-c3ecc8b4bfb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E788E30-43AA-4F4F-8EB9-D2D838C8E85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CF0F41-0314-43C9-BD87-697E9B26C748}">
  <ds:schemaRefs>
    <ds:schemaRef ds:uri="6e12c274-9d88-4fa5-b2a4-9c166e4ea2dc"/>
    <ds:schemaRef ds:uri="http://www.w3.org/XML/1998/namespace"/>
    <ds:schemaRef ds:uri="http://purl.org/dc/elements/1.1/"/>
    <ds:schemaRef ds:uri="http://schemas.microsoft.com/office/2006/metadata/properties"/>
    <ds:schemaRef ds:uri="http://purl.org/dc/terms/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1ab6262c-9d67-442a-889b-c3ecc8b4bfb9"/>
  </ds:schemaRefs>
</ds:datastoreItem>
</file>

<file path=customXml/itemProps3.xml><?xml version="1.0" encoding="utf-8"?>
<ds:datastoreItem xmlns:ds="http://schemas.openxmlformats.org/officeDocument/2006/customXml" ds:itemID="{E049F6AB-37F8-4E67-87A8-8E06B67C7614}">
  <ds:schemaRefs>
    <ds:schemaRef ds:uri="1ab6262c-9d67-442a-889b-c3ecc8b4bfb9"/>
    <ds:schemaRef ds:uri="6e12c274-9d88-4fa5-b2a4-9c166e4ea2d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55</Words>
  <Application>Microsoft Office PowerPoint</Application>
  <PresentationFormat>On-screen Show (16:9)</PresentationFormat>
  <Paragraphs>56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Bahnschrift</vt:lpstr>
      <vt:lpstr>Calibri</vt:lpstr>
      <vt:lpstr>Wingdings</vt:lpstr>
      <vt:lpstr>LEAF_SPACE_2021</vt:lpstr>
      <vt:lpstr>1_LEAF_SPACE_2021</vt:lpstr>
      <vt:lpstr>Diapositiva think-cell</vt:lpstr>
      <vt:lpstr>Maximizing Ground Network Efficiency in the Ground Segment as a Service (GSaaS) Context via Stochastic Model-Driven Capacity Demand Prediction</vt:lpstr>
      <vt:lpstr>GSaaS scaling up problem </vt:lpstr>
      <vt:lpstr>Problem Modelling </vt:lpstr>
      <vt:lpstr>Stochastic Model Result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onika Meneghetti</dc:creator>
  <cp:lastModifiedBy>Stefan Vlad Tudor</cp:lastModifiedBy>
  <cp:revision>2</cp:revision>
  <cp:lastPrinted>2021-07-12T07:41:33Z</cp:lastPrinted>
  <dcterms:created xsi:type="dcterms:W3CDTF">2021-07-07T14:46:47Z</dcterms:created>
  <dcterms:modified xsi:type="dcterms:W3CDTF">2024-08-02T11:2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10DAA6EE75CE48B111811FB169E04B</vt:lpwstr>
  </property>
  <property fmtid="{D5CDD505-2E9C-101B-9397-08002B2CF9AE}" pid="3" name="MediaServiceImageTags">
    <vt:lpwstr/>
  </property>
</Properties>
</file>